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63" r:id="rId4"/>
  </p:sldMasterIdLst>
  <p:notesMasterIdLst>
    <p:notesMasterId r:id="rId30"/>
  </p:notesMasterIdLst>
  <p:handoutMasterIdLst>
    <p:handoutMasterId r:id="rId31"/>
  </p:handoutMasterIdLst>
  <p:sldIdLst>
    <p:sldId id="263" r:id="rId5"/>
    <p:sldId id="275" r:id="rId6"/>
    <p:sldId id="265" r:id="rId7"/>
    <p:sldId id="266" r:id="rId8"/>
    <p:sldId id="262" r:id="rId9"/>
    <p:sldId id="258" r:id="rId10"/>
    <p:sldId id="3575" r:id="rId11"/>
    <p:sldId id="3562" r:id="rId12"/>
    <p:sldId id="3577" r:id="rId13"/>
    <p:sldId id="284" r:id="rId14"/>
    <p:sldId id="257" r:id="rId15"/>
    <p:sldId id="267" r:id="rId16"/>
    <p:sldId id="3576" r:id="rId17"/>
    <p:sldId id="271" r:id="rId18"/>
    <p:sldId id="3652" r:id="rId19"/>
    <p:sldId id="3578" r:id="rId20"/>
    <p:sldId id="3651" r:id="rId21"/>
    <p:sldId id="272" r:id="rId22"/>
    <p:sldId id="3580" r:id="rId23"/>
    <p:sldId id="3650" r:id="rId24"/>
    <p:sldId id="3601" r:id="rId25"/>
    <p:sldId id="3583" r:id="rId26"/>
    <p:sldId id="3602" r:id="rId27"/>
    <p:sldId id="269" r:id="rId28"/>
    <p:sldId id="259" r:id="rId29"/>
  </p:sldIdLst>
  <p:sldSz cx="12192000" cy="6858000"/>
  <p:notesSz cx="6797675" cy="9872663"/>
  <p:embeddedFontLst>
    <p:embeddedFont>
      <p:font typeface="Barlow" panose="020B0604020202020204" charset="0"/>
      <p:regular r:id="rId32"/>
      <p:bold r:id="rId33"/>
      <p:italic r:id="rId34"/>
      <p:boldItalic r:id="rId35"/>
    </p:embeddedFont>
    <p:embeddedFont>
      <p:font typeface="Barlow Light" panose="020B0604020202020204" charset="0"/>
      <p:regular r:id="rId36"/>
      <p:italic r:id="rId37"/>
    </p:embeddedFont>
    <p:embeddedFont>
      <p:font typeface="Barlow Medium" panose="020B0604020202020204" charset="0"/>
      <p:regular r:id="rId38"/>
      <p:italic r:id="rId39"/>
    </p:embeddedFont>
    <p:embeddedFont>
      <p:font typeface="Franklin Gothic Book" panose="020B0604020202020204" charset="0"/>
      <p:regular r:id="rId40"/>
      <p:italic r:id="rId41"/>
    </p:embeddedFont>
  </p:embeddedFontLst>
  <p:custDataLst>
    <p:tags r:id="rId42"/>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3AC6260-F3FD-4FAD-96D2-D60900E0CDEC}">
          <p14:sldIdLst>
            <p14:sldId id="263"/>
            <p14:sldId id="275"/>
          </p14:sldIdLst>
        </p14:section>
        <p14:section name="Introductie LPZ" id="{63785C17-AE71-4737-A95A-74AD900F0A18}">
          <p14:sldIdLst>
            <p14:sldId id="265"/>
            <p14:sldId id="266"/>
            <p14:sldId id="262"/>
            <p14:sldId id="258"/>
            <p14:sldId id="3575"/>
            <p14:sldId id="3562"/>
            <p14:sldId id="3577"/>
          </p14:sldIdLst>
        </p14:section>
        <p14:section name="Ontwikkeling dashboards kindergeneeskunde en neonatologie LPZ" id="{000B7724-44C7-4030-9747-53D30B98CB4B}">
          <p14:sldIdLst>
            <p14:sldId id="284"/>
            <p14:sldId id="257"/>
            <p14:sldId id="267"/>
            <p14:sldId id="3576"/>
            <p14:sldId id="271"/>
            <p14:sldId id="3652"/>
            <p14:sldId id="3578"/>
            <p14:sldId id="3651"/>
          </p14:sldIdLst>
        </p14:section>
        <p14:section name="Demo" id="{22B8C9C6-0A8E-4F82-9B86-024E766DC896}">
          <p14:sldIdLst>
            <p14:sldId id="272"/>
          </p14:sldIdLst>
        </p14:section>
        <p14:section name="Implementatieperiode" id="{54EC2F77-3A7E-4062-9704-F0C8D1141CD3}">
          <p14:sldIdLst>
            <p14:sldId id="3580"/>
            <p14:sldId id="3650"/>
            <p14:sldId id="3601"/>
            <p14:sldId id="3583"/>
            <p14:sldId id="3602"/>
            <p14:sldId id="269"/>
            <p14:sldId id="25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E37556C-DF11-F9F2-D1F0-FDB35FC401C9}" name="Vera van de Beek" initials="Vv" userId="S::v.vandebeek@lnaz.nl::b3b668ba-35d7-46c6-a392-6da89df3b6a5" providerId="AD"/>
  <p188:author id="{78FA7AA1-98AE-1990-DBB4-4708DA1F1126}" name="Tessa Aarts" initials="TA" userId="S::t.aarts@lnaz.nl::517aaa4f-615e-4a1a-883b-c536ee972b5a" providerId="AD"/>
  <p188:author id="{724777B6-34E4-07F4-7365-AB93022D3169}" name="Jessica Hesselink" initials="JH" userId="fef55587ab4f33c9" providerId="Windows Live"/>
  <p188:author id="{302121C7-C2C5-0482-383A-E4E67EBF918C}" name="Krispijn Keijzer" initials="KK" userId="S::k.keijzer@lnaz.nl::95df40f8-7ee4-4218-b83d-6d1ea43c2079" providerId="AD"/>
  <p188:author id="{47C0C1E4-32AA-C293-7010-D563E2499AD1}" name="Lisanne van Lent" initials="Lv" userId="S::l.vanlent@lnaz.nl::f922323e-5c35-4656-b40f-05a10f562e1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Bas Leerink" initials="BL" lastIdx="7" clrIdx="6">
    <p:extLst>
      <p:ext uri="{19B8F6BF-5375-455C-9EA6-DF929625EA0E}">
        <p15:presenceInfo xmlns:p15="http://schemas.microsoft.com/office/powerpoint/2012/main" userId="S::bas.leerink@igh.com::51e756ae-41d8-4331-a05b-8d23a718ac35" providerId="AD"/>
      </p:ext>
    </p:extLst>
  </p:cmAuthor>
  <p:cmAuthor id="1" name="Maren Schaatsbergen" initials="MS" lastIdx="2" clrIdx="0">
    <p:extLst>
      <p:ext uri="{19B8F6BF-5375-455C-9EA6-DF929625EA0E}">
        <p15:presenceInfo xmlns:p15="http://schemas.microsoft.com/office/powerpoint/2012/main" userId="S::maren.schaatsbergen@igh.com::4aa640f7-289b-402e-b59c-218f759e1a92" providerId="AD"/>
      </p:ext>
    </p:extLst>
  </p:cmAuthor>
  <p:cmAuthor id="8" name="Rensen, Willy" initials="RW [2]" lastIdx="4" clrIdx="7">
    <p:extLst>
      <p:ext uri="{19B8F6BF-5375-455C-9EA6-DF929625EA0E}">
        <p15:presenceInfo xmlns:p15="http://schemas.microsoft.com/office/powerpoint/2012/main" userId="S::w.rensen_etz.nl#ext#@igh4.onmicrosoft.com::186c8292-065d-460b-b420-2b453f9064b4" providerId="AD"/>
      </p:ext>
    </p:extLst>
  </p:cmAuthor>
  <p:cmAuthor id="2" name="Josien Bovenberg" initials="JB" lastIdx="13" clrIdx="1">
    <p:extLst>
      <p:ext uri="{19B8F6BF-5375-455C-9EA6-DF929625EA0E}">
        <p15:presenceInfo xmlns:p15="http://schemas.microsoft.com/office/powerpoint/2012/main" userId="Josien Bovenberg" providerId="None"/>
      </p:ext>
    </p:extLst>
  </p:cmAuthor>
  <p:cmAuthor id="9" name="Nanouk Botman" initials="NB" lastIdx="3" clrIdx="8">
    <p:extLst>
      <p:ext uri="{19B8F6BF-5375-455C-9EA6-DF929625EA0E}">
        <p15:presenceInfo xmlns:p15="http://schemas.microsoft.com/office/powerpoint/2012/main" userId="S::nanouk.botman@igh.com::96347b2b-7458-42aa-a37b-9efc7ffcd5d9" providerId="AD"/>
      </p:ext>
    </p:extLst>
  </p:cmAuthor>
  <p:cmAuthor id="3" name="Marijn Lansink" initials="ML" lastIdx="7" clrIdx="2">
    <p:extLst>
      <p:ext uri="{19B8F6BF-5375-455C-9EA6-DF929625EA0E}">
        <p15:presenceInfo xmlns:p15="http://schemas.microsoft.com/office/powerpoint/2012/main" userId="S::marijn.lansink@igh.com::505c8bdc-c64d-4047-971f-483a9aeb85bc" providerId="AD"/>
      </p:ext>
    </p:extLst>
  </p:cmAuthor>
  <p:cmAuthor id="10" name="Beek, Vera van de" initials="BVvd" lastIdx="1" clrIdx="9">
    <p:extLst>
      <p:ext uri="{19B8F6BF-5375-455C-9EA6-DF929625EA0E}">
        <p15:presenceInfo xmlns:p15="http://schemas.microsoft.com/office/powerpoint/2012/main" userId="S-1-5-21-3908747558-819529810-2516640205-167745" providerId="AD"/>
      </p:ext>
    </p:extLst>
  </p:cmAuthor>
  <p:cmAuthor id="4" name="Bart ter Horst" initials="BtH" lastIdx="13" clrIdx="3">
    <p:extLst>
      <p:ext uri="{19B8F6BF-5375-455C-9EA6-DF929625EA0E}">
        <p15:presenceInfo xmlns:p15="http://schemas.microsoft.com/office/powerpoint/2012/main" userId="S::bart.terhorst@igh.com::7335a5f2-a545-4d44-be26-6b2e0f48f606" providerId="AD"/>
      </p:ext>
    </p:extLst>
  </p:cmAuthor>
  <p:cmAuthor id="5" name="Lisanne Swennenhuis" initials="LS" lastIdx="2" clrIdx="4">
    <p:extLst>
      <p:ext uri="{19B8F6BF-5375-455C-9EA6-DF929625EA0E}">
        <p15:presenceInfo xmlns:p15="http://schemas.microsoft.com/office/powerpoint/2012/main" userId="S::lisanne.swennenhuis@igh.com::b2c7ca5d-e8d3-444b-8249-9afe6a937282" providerId="AD"/>
      </p:ext>
    </p:extLst>
  </p:cmAuthor>
  <p:cmAuthor id="6" name="Rensen, Willy" initials="RW" lastIdx="6" clrIdx="5">
    <p:extLst>
      <p:ext uri="{19B8F6BF-5375-455C-9EA6-DF929625EA0E}">
        <p15:presenceInfo xmlns:p15="http://schemas.microsoft.com/office/powerpoint/2012/main" userId="Rensen, Will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DAEDE"/>
    <a:srgbClr val="65B2E8"/>
    <a:srgbClr val="F2F3F4"/>
    <a:srgbClr val="0063A4"/>
    <a:srgbClr val="1D5886"/>
    <a:srgbClr val="1D3B4E"/>
    <a:srgbClr val="712685"/>
    <a:srgbClr val="F1EBF6"/>
    <a:srgbClr val="B98FBF"/>
    <a:srgbClr val="3AB7E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FE3A22E-BE30-E348-85F2-0D04410800E2}" v="139" dt="2025-12-17T15:02:49.96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DF18680-E054-41AD-8BC1-D1AEF772440D}" styleName="Stijl, gemiddeld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D7B26C5-4107-4FEC-AEDC-1716B250A1EF}" styleName="Stijl, licht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8.fntdata"/><Relationship Id="rId21" Type="http://schemas.openxmlformats.org/officeDocument/2006/relationships/slide" Target="slides/slide17.xml"/><Relationship Id="rId34" Type="http://schemas.openxmlformats.org/officeDocument/2006/relationships/font" Target="fonts/font3.fntdata"/><Relationship Id="rId42" Type="http://schemas.openxmlformats.org/officeDocument/2006/relationships/tags" Target="tags/tag1.xml"/><Relationship Id="rId47" Type="http://schemas.openxmlformats.org/officeDocument/2006/relationships/tableStyles" Target="tableStyles.xml"/><Relationship Id="rId50"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1.fntdata"/><Relationship Id="rId37" Type="http://schemas.openxmlformats.org/officeDocument/2006/relationships/font" Target="fonts/font6.fntdata"/><Relationship Id="rId40" Type="http://schemas.openxmlformats.org/officeDocument/2006/relationships/font" Target="fonts/font9.fntdata"/><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font" Target="fonts/font5.fntdata"/><Relationship Id="rId49"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handoutMaster" Target="handoutMasters/handoutMaster1.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font" Target="fonts/font4.fntdata"/><Relationship Id="rId43" Type="http://schemas.openxmlformats.org/officeDocument/2006/relationships/commentAuthors" Target="commentAuthors.xml"/><Relationship Id="rId48" Type="http://schemas.microsoft.com/office/2016/11/relationships/changesInfo" Target="changesInfos/changesInfo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2.fntdata"/><Relationship Id="rId38" Type="http://schemas.openxmlformats.org/officeDocument/2006/relationships/font" Target="fonts/font7.fntdata"/><Relationship Id="rId46"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font" Target="fonts/font10.fntdata"/><Relationship Id="rId1" Type="http://schemas.openxmlformats.org/officeDocument/2006/relationships/customXml" Target="../customXml/item1.xml"/><Relationship Id="rId6"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era van de Beek" userId="S::v.vandebeek@lnaz.nl::b3b668ba-35d7-46c6-a392-6da89df3b6a5" providerId="AD" clId="Web-{C1BC2A78-F28D-805D-2A56-A059FC91736D}"/>
    <pc:docChg chg="modSld">
      <pc:chgData name="Vera van de Beek" userId="S::v.vandebeek@lnaz.nl::b3b668ba-35d7-46c6-a392-6da89df3b6a5" providerId="AD" clId="Web-{C1BC2A78-F28D-805D-2A56-A059FC91736D}" dt="2025-11-12T13:03:57.706" v="35" actId="20577"/>
      <pc:docMkLst>
        <pc:docMk/>
      </pc:docMkLst>
      <pc:sldChg chg="modSp">
        <pc:chgData name="Vera van de Beek" userId="S::v.vandebeek@lnaz.nl::b3b668ba-35d7-46c6-a392-6da89df3b6a5" providerId="AD" clId="Web-{C1BC2A78-F28D-805D-2A56-A059FC91736D}" dt="2025-11-12T13:03:57.706" v="35" actId="20577"/>
        <pc:sldMkLst>
          <pc:docMk/>
          <pc:sldMk cId="1509748762" sldId="3651"/>
        </pc:sldMkLst>
      </pc:sldChg>
    </pc:docChg>
  </pc:docChgLst>
  <pc:docChgLst>
    <pc:chgData name="Wolf, V.H. van der (NAZW)" userId="S::v.h.van_der_wolf_lumc.nl#ext#@lpznl.onmicrosoft.com::6ce2390e-476f-43d4-ae34-bc52b7c46a94" providerId="AD" clId="Web-{139D4E94-31C1-AC65-EC18-24E9F23FF0DE}"/>
    <pc:docChg chg="sldOrd">
      <pc:chgData name="Wolf, V.H. van der (NAZW)" userId="S::v.h.van_der_wolf_lumc.nl#ext#@lpznl.onmicrosoft.com::6ce2390e-476f-43d4-ae34-bc52b7c46a94" providerId="AD" clId="Web-{139D4E94-31C1-AC65-EC18-24E9F23FF0DE}" dt="2025-12-03T14:07:08.256" v="0"/>
      <pc:docMkLst>
        <pc:docMk/>
      </pc:docMkLst>
      <pc:sldChg chg="ord">
        <pc:chgData name="Wolf, V.H. van der (NAZW)" userId="S::v.h.van_der_wolf_lumc.nl#ext#@lpznl.onmicrosoft.com::6ce2390e-476f-43d4-ae34-bc52b7c46a94" providerId="AD" clId="Web-{139D4E94-31C1-AC65-EC18-24E9F23FF0DE}" dt="2025-12-03T14:07:08.256" v="0"/>
        <pc:sldMkLst>
          <pc:docMk/>
          <pc:sldMk cId="1529552222" sldId="3576"/>
        </pc:sldMkLst>
      </pc:sldChg>
    </pc:docChg>
  </pc:docChgLst>
  <pc:docChgLst>
    <pc:chgData name="Vera van de Beek" userId="b3b668ba-35d7-46c6-a392-6da89df3b6a5" providerId="ADAL" clId="{EE42DB4E-8991-56E5-B342-9407ECBB0E3F}"/>
    <pc:docChg chg="undo custSel addSld delSld modSld modSection">
      <pc:chgData name="Vera van de Beek" userId="b3b668ba-35d7-46c6-a392-6da89df3b6a5" providerId="ADAL" clId="{EE42DB4E-8991-56E5-B342-9407ECBB0E3F}" dt="2025-12-17T15:02:49.960" v="2629" actId="20577"/>
      <pc:docMkLst>
        <pc:docMk/>
      </pc:docMkLst>
      <pc:sldChg chg="delSp modSp mod modNotesTx">
        <pc:chgData name="Vera van de Beek" userId="b3b668ba-35d7-46c6-a392-6da89df3b6a5" providerId="ADAL" clId="{EE42DB4E-8991-56E5-B342-9407ECBB0E3F}" dt="2025-12-10T11:39:13.815" v="1880" actId="27636"/>
        <pc:sldMkLst>
          <pc:docMk/>
          <pc:sldMk cId="2447358596" sldId="257"/>
        </pc:sldMkLst>
        <pc:spChg chg="mod">
          <ac:chgData name="Vera van de Beek" userId="b3b668ba-35d7-46c6-a392-6da89df3b6a5" providerId="ADAL" clId="{EE42DB4E-8991-56E5-B342-9407ECBB0E3F}" dt="2025-12-10T11:39:13.815" v="1880" actId="27636"/>
          <ac:spMkLst>
            <pc:docMk/>
            <pc:sldMk cId="2447358596" sldId="257"/>
            <ac:spMk id="4" creationId="{35EC962D-110E-71C9-ECF2-1C29AA671BAD}"/>
          </ac:spMkLst>
        </pc:spChg>
        <pc:spChg chg="mod">
          <ac:chgData name="Vera van de Beek" userId="b3b668ba-35d7-46c6-a392-6da89df3b6a5" providerId="ADAL" clId="{EE42DB4E-8991-56E5-B342-9407ECBB0E3F}" dt="2025-12-10T11:08:30.520" v="1111" actId="313"/>
          <ac:spMkLst>
            <pc:docMk/>
            <pc:sldMk cId="2447358596" sldId="257"/>
            <ac:spMk id="8" creationId="{82B39638-DC9D-DF14-5770-8CE19F79448F}"/>
          </ac:spMkLst>
        </pc:spChg>
        <pc:picChg chg="mod">
          <ac:chgData name="Vera van de Beek" userId="b3b668ba-35d7-46c6-a392-6da89df3b6a5" providerId="ADAL" clId="{EE42DB4E-8991-56E5-B342-9407ECBB0E3F}" dt="2025-12-10T11:13:11.265" v="1292" actId="1076"/>
          <ac:picMkLst>
            <pc:docMk/>
            <pc:sldMk cId="2447358596" sldId="257"/>
            <ac:picMk id="5" creationId="{CB1BA874-1465-00D7-AC7A-8597DA597E49}"/>
          </ac:picMkLst>
        </pc:picChg>
        <pc:picChg chg="mod">
          <ac:chgData name="Vera van de Beek" userId="b3b668ba-35d7-46c6-a392-6da89df3b6a5" providerId="ADAL" clId="{EE42DB4E-8991-56E5-B342-9407ECBB0E3F}" dt="2025-12-10T11:13:12.945" v="1293" actId="1076"/>
          <ac:picMkLst>
            <pc:docMk/>
            <pc:sldMk cId="2447358596" sldId="257"/>
            <ac:picMk id="6" creationId="{7A4119B8-91F4-5D5E-F9D9-F628C1B0F0F6}"/>
          </ac:picMkLst>
        </pc:picChg>
      </pc:sldChg>
      <pc:sldChg chg="modSp mod">
        <pc:chgData name="Vera van de Beek" userId="b3b668ba-35d7-46c6-a392-6da89df3b6a5" providerId="ADAL" clId="{EE42DB4E-8991-56E5-B342-9407ECBB0E3F}" dt="2025-11-26T11:59:58.541" v="942" actId="14100"/>
        <pc:sldMkLst>
          <pc:docMk/>
          <pc:sldMk cId="316750688" sldId="258"/>
        </pc:sldMkLst>
        <pc:spChg chg="mod">
          <ac:chgData name="Vera van de Beek" userId="b3b668ba-35d7-46c6-a392-6da89df3b6a5" providerId="ADAL" clId="{EE42DB4E-8991-56E5-B342-9407ECBB0E3F}" dt="2025-11-26T11:59:58.541" v="942" actId="14100"/>
          <ac:spMkLst>
            <pc:docMk/>
            <pc:sldMk cId="316750688" sldId="258"/>
            <ac:spMk id="10" creationId="{80B883B0-1A75-5D2C-04E1-606B6ACF04A6}"/>
          </ac:spMkLst>
        </pc:spChg>
        <pc:spChg chg="mod">
          <ac:chgData name="Vera van de Beek" userId="b3b668ba-35d7-46c6-a392-6da89df3b6a5" providerId="ADAL" clId="{EE42DB4E-8991-56E5-B342-9407ECBB0E3F}" dt="2025-11-26T11:59:52.467" v="940" actId="1076"/>
          <ac:spMkLst>
            <pc:docMk/>
            <pc:sldMk cId="316750688" sldId="258"/>
            <ac:spMk id="11" creationId="{CD8AA0C6-707C-BC49-854E-E49AF0E36DF2}"/>
          </ac:spMkLst>
        </pc:spChg>
        <pc:spChg chg="mod">
          <ac:chgData name="Vera van de Beek" userId="b3b668ba-35d7-46c6-a392-6da89df3b6a5" providerId="ADAL" clId="{EE42DB4E-8991-56E5-B342-9407ECBB0E3F}" dt="2025-11-26T11:59:31.574" v="936" actId="2711"/>
          <ac:spMkLst>
            <pc:docMk/>
            <pc:sldMk cId="316750688" sldId="258"/>
            <ac:spMk id="13" creationId="{B3DAF2FF-CE47-32AA-994F-EB756CF6B711}"/>
          </ac:spMkLst>
        </pc:spChg>
        <pc:spChg chg="mod">
          <ac:chgData name="Vera van de Beek" userId="b3b668ba-35d7-46c6-a392-6da89df3b6a5" providerId="ADAL" clId="{EE42DB4E-8991-56E5-B342-9407ECBB0E3F}" dt="2025-11-26T11:59:36.428" v="937" actId="2711"/>
          <ac:spMkLst>
            <pc:docMk/>
            <pc:sldMk cId="316750688" sldId="258"/>
            <ac:spMk id="15" creationId="{569EC995-9220-2C5D-7894-F13113127859}"/>
          </ac:spMkLst>
        </pc:spChg>
        <pc:spChg chg="mod">
          <ac:chgData name="Vera van de Beek" userId="b3b668ba-35d7-46c6-a392-6da89df3b6a5" providerId="ADAL" clId="{EE42DB4E-8991-56E5-B342-9407ECBB0E3F}" dt="2025-11-26T11:59:41.202" v="938" actId="2711"/>
          <ac:spMkLst>
            <pc:docMk/>
            <pc:sldMk cId="316750688" sldId="258"/>
            <ac:spMk id="16" creationId="{84548E6E-F778-73BD-AD1C-8E560BD6D48A}"/>
          </ac:spMkLst>
        </pc:spChg>
        <pc:spChg chg="mod">
          <ac:chgData name="Vera van de Beek" userId="b3b668ba-35d7-46c6-a392-6da89df3b6a5" providerId="ADAL" clId="{EE42DB4E-8991-56E5-B342-9407ECBB0E3F}" dt="2025-11-26T11:59:54.887" v="941" actId="1076"/>
          <ac:spMkLst>
            <pc:docMk/>
            <pc:sldMk cId="316750688" sldId="258"/>
            <ac:spMk id="21" creationId="{E9E47834-A187-09C0-9D0A-F3B7BA48BA4A}"/>
          </ac:spMkLst>
        </pc:spChg>
      </pc:sldChg>
      <pc:sldChg chg="modSp mod">
        <pc:chgData name="Vera van de Beek" userId="b3b668ba-35d7-46c6-a392-6da89df3b6a5" providerId="ADAL" clId="{EE42DB4E-8991-56E5-B342-9407ECBB0E3F}" dt="2025-12-10T11:38:45.720" v="1878" actId="108"/>
        <pc:sldMkLst>
          <pc:docMk/>
          <pc:sldMk cId="289024769" sldId="262"/>
        </pc:sldMkLst>
        <pc:spChg chg="mod">
          <ac:chgData name="Vera van de Beek" userId="b3b668ba-35d7-46c6-a392-6da89df3b6a5" providerId="ADAL" clId="{EE42DB4E-8991-56E5-B342-9407ECBB0E3F}" dt="2025-12-10T11:38:45.720" v="1878" actId="108"/>
          <ac:spMkLst>
            <pc:docMk/>
            <pc:sldMk cId="289024769" sldId="262"/>
            <ac:spMk id="2" creationId="{AE875774-C160-F67C-466F-0BC1C05F4832}"/>
          </ac:spMkLst>
        </pc:spChg>
      </pc:sldChg>
      <pc:sldChg chg="addSp delSp modSp mod">
        <pc:chgData name="Vera van de Beek" userId="b3b668ba-35d7-46c6-a392-6da89df3b6a5" providerId="ADAL" clId="{EE42DB4E-8991-56E5-B342-9407ECBB0E3F}" dt="2025-11-26T11:30:26.024" v="782" actId="1076"/>
        <pc:sldMkLst>
          <pc:docMk/>
          <pc:sldMk cId="1820533416" sldId="263"/>
        </pc:sldMkLst>
        <pc:picChg chg="add mod">
          <ac:chgData name="Vera van de Beek" userId="b3b668ba-35d7-46c6-a392-6da89df3b6a5" providerId="ADAL" clId="{EE42DB4E-8991-56E5-B342-9407ECBB0E3F}" dt="2025-11-26T11:30:26.024" v="782" actId="1076"/>
          <ac:picMkLst>
            <pc:docMk/>
            <pc:sldMk cId="1820533416" sldId="263"/>
            <ac:picMk id="5" creationId="{E8A4876B-8BDF-0F52-FC90-42DFA7E57A7E}"/>
          </ac:picMkLst>
        </pc:picChg>
      </pc:sldChg>
      <pc:sldChg chg="modSp mod">
        <pc:chgData name="Vera van de Beek" userId="b3b668ba-35d7-46c6-a392-6da89df3b6a5" providerId="ADAL" clId="{EE42DB4E-8991-56E5-B342-9407ECBB0E3F}" dt="2025-11-26T11:59:08.887" v="935" actId="14100"/>
        <pc:sldMkLst>
          <pc:docMk/>
          <pc:sldMk cId="4020317380" sldId="265"/>
        </pc:sldMkLst>
        <pc:spChg chg="mod">
          <ac:chgData name="Vera van de Beek" userId="b3b668ba-35d7-46c6-a392-6da89df3b6a5" providerId="ADAL" clId="{EE42DB4E-8991-56E5-B342-9407ECBB0E3F}" dt="2025-11-26T11:58:43.034" v="930" actId="2711"/>
          <ac:spMkLst>
            <pc:docMk/>
            <pc:sldMk cId="4020317380" sldId="265"/>
            <ac:spMk id="6" creationId="{126AB71E-9BD5-8448-8FFB-7611A6E70566}"/>
          </ac:spMkLst>
        </pc:spChg>
        <pc:spChg chg="mod">
          <ac:chgData name="Vera van de Beek" userId="b3b668ba-35d7-46c6-a392-6da89df3b6a5" providerId="ADAL" clId="{EE42DB4E-8991-56E5-B342-9407ECBB0E3F}" dt="2025-11-26T11:59:08.887" v="935" actId="14100"/>
          <ac:spMkLst>
            <pc:docMk/>
            <pc:sldMk cId="4020317380" sldId="265"/>
            <ac:spMk id="14" creationId="{7C0DC036-21FD-C69A-D4AE-393EA06239CA}"/>
          </ac:spMkLst>
        </pc:spChg>
        <pc:spChg chg="mod">
          <ac:chgData name="Vera van de Beek" userId="b3b668ba-35d7-46c6-a392-6da89df3b6a5" providerId="ADAL" clId="{EE42DB4E-8991-56E5-B342-9407ECBB0E3F}" dt="2025-11-26T11:58:54.412" v="932" actId="2711"/>
          <ac:spMkLst>
            <pc:docMk/>
            <pc:sldMk cId="4020317380" sldId="265"/>
            <ac:spMk id="15" creationId="{85A81290-EC24-B439-9583-CA7B961D1AC7}"/>
          </ac:spMkLst>
        </pc:spChg>
        <pc:spChg chg="mod">
          <ac:chgData name="Vera van de Beek" userId="b3b668ba-35d7-46c6-a392-6da89df3b6a5" providerId="ADAL" clId="{EE42DB4E-8991-56E5-B342-9407ECBB0E3F}" dt="2025-11-26T11:58:59.502" v="933" actId="2711"/>
          <ac:spMkLst>
            <pc:docMk/>
            <pc:sldMk cId="4020317380" sldId="265"/>
            <ac:spMk id="16" creationId="{D35D0651-6D61-01FA-E886-E7119E9F023D}"/>
          </ac:spMkLst>
        </pc:spChg>
        <pc:spChg chg="mod">
          <ac:chgData name="Vera van de Beek" userId="b3b668ba-35d7-46c6-a392-6da89df3b6a5" providerId="ADAL" clId="{EE42DB4E-8991-56E5-B342-9407ECBB0E3F}" dt="2025-11-26T11:59:05.077" v="934" actId="2711"/>
          <ac:spMkLst>
            <pc:docMk/>
            <pc:sldMk cId="4020317380" sldId="265"/>
            <ac:spMk id="18" creationId="{78187330-460E-57F3-0F53-1FE806393991}"/>
          </ac:spMkLst>
        </pc:spChg>
      </pc:sldChg>
      <pc:sldChg chg="modSp mod">
        <pc:chgData name="Vera van de Beek" userId="b3b668ba-35d7-46c6-a392-6da89df3b6a5" providerId="ADAL" clId="{EE42DB4E-8991-56E5-B342-9407ECBB0E3F}" dt="2025-11-26T11:56:34.372" v="915" actId="1076"/>
        <pc:sldMkLst>
          <pc:docMk/>
          <pc:sldMk cId="1892810770" sldId="266"/>
        </pc:sldMkLst>
        <pc:spChg chg="mod">
          <ac:chgData name="Vera van de Beek" userId="b3b668ba-35d7-46c6-a392-6da89df3b6a5" providerId="ADAL" clId="{EE42DB4E-8991-56E5-B342-9407ECBB0E3F}" dt="2025-11-26T11:53:32.061" v="881" actId="20577"/>
          <ac:spMkLst>
            <pc:docMk/>
            <pc:sldMk cId="1892810770" sldId="266"/>
            <ac:spMk id="14" creationId="{94835994-27A3-3BB9-AB7F-A86E3C564463}"/>
          </ac:spMkLst>
        </pc:spChg>
        <pc:grpChg chg="mod">
          <ac:chgData name="Vera van de Beek" userId="b3b668ba-35d7-46c6-a392-6da89df3b6a5" providerId="ADAL" clId="{EE42DB4E-8991-56E5-B342-9407ECBB0E3F}" dt="2025-11-26T11:56:31.168" v="914" actId="1076"/>
          <ac:grpSpMkLst>
            <pc:docMk/>
            <pc:sldMk cId="1892810770" sldId="266"/>
            <ac:grpSpMk id="12" creationId="{7A36619C-025C-9593-FC8B-6187317F334F}"/>
          </ac:grpSpMkLst>
        </pc:grpChg>
        <pc:picChg chg="mod">
          <ac:chgData name="Vera van de Beek" userId="b3b668ba-35d7-46c6-a392-6da89df3b6a5" providerId="ADAL" clId="{EE42DB4E-8991-56E5-B342-9407ECBB0E3F}" dt="2025-11-26T11:56:34.372" v="915" actId="1076"/>
          <ac:picMkLst>
            <pc:docMk/>
            <pc:sldMk cId="1892810770" sldId="266"/>
            <ac:picMk id="13" creationId="{7928AE47-FFB0-3AA7-9E5B-4D829B25D91C}"/>
          </ac:picMkLst>
        </pc:picChg>
      </pc:sldChg>
      <pc:sldChg chg="modSp mod">
        <pc:chgData name="Vera van de Beek" userId="b3b668ba-35d7-46c6-a392-6da89df3b6a5" providerId="ADAL" clId="{EE42DB4E-8991-56E5-B342-9407ECBB0E3F}" dt="2025-11-26T11:58:03.768" v="922" actId="404"/>
        <pc:sldMkLst>
          <pc:docMk/>
          <pc:sldMk cId="4013533019" sldId="267"/>
        </pc:sldMkLst>
        <pc:spChg chg="mod">
          <ac:chgData name="Vera van de Beek" userId="b3b668ba-35d7-46c6-a392-6da89df3b6a5" providerId="ADAL" clId="{EE42DB4E-8991-56E5-B342-9407ECBB0E3F}" dt="2025-11-26T11:57:56.144" v="920" actId="404"/>
          <ac:spMkLst>
            <pc:docMk/>
            <pc:sldMk cId="4013533019" sldId="267"/>
            <ac:spMk id="12" creationId="{46B5A1F1-0943-14C6-A567-CEC3DB81246B}"/>
          </ac:spMkLst>
        </pc:spChg>
        <pc:spChg chg="mod">
          <ac:chgData name="Vera van de Beek" userId="b3b668ba-35d7-46c6-a392-6da89df3b6a5" providerId="ADAL" clId="{EE42DB4E-8991-56E5-B342-9407ECBB0E3F}" dt="2025-11-26T11:58:00.548" v="921" actId="404"/>
          <ac:spMkLst>
            <pc:docMk/>
            <pc:sldMk cId="4013533019" sldId="267"/>
            <ac:spMk id="17" creationId="{33909189-6F44-1B9A-F5C0-E1CE4E90FEE9}"/>
          </ac:spMkLst>
        </pc:spChg>
        <pc:spChg chg="mod">
          <ac:chgData name="Vera van de Beek" userId="b3b668ba-35d7-46c6-a392-6da89df3b6a5" providerId="ADAL" clId="{EE42DB4E-8991-56E5-B342-9407ECBB0E3F}" dt="2025-11-26T11:58:03.768" v="922" actId="404"/>
          <ac:spMkLst>
            <pc:docMk/>
            <pc:sldMk cId="4013533019" sldId="267"/>
            <ac:spMk id="18" creationId="{CF057D4D-E730-EC09-43E6-52EAE90D903C}"/>
          </ac:spMkLst>
        </pc:spChg>
      </pc:sldChg>
      <pc:sldChg chg="modSp mod">
        <pc:chgData name="Vera van de Beek" userId="b3b668ba-35d7-46c6-a392-6da89df3b6a5" providerId="ADAL" clId="{EE42DB4E-8991-56E5-B342-9407ECBB0E3F}" dt="2025-12-10T15:26:15.548" v="2490" actId="20577"/>
        <pc:sldMkLst>
          <pc:docMk/>
          <pc:sldMk cId="1614001374" sldId="269"/>
        </pc:sldMkLst>
        <pc:spChg chg="mod">
          <ac:chgData name="Vera van de Beek" userId="b3b668ba-35d7-46c6-a392-6da89df3b6a5" providerId="ADAL" clId="{EE42DB4E-8991-56E5-B342-9407ECBB0E3F}" dt="2025-12-10T15:26:15.548" v="2490" actId="20577"/>
          <ac:spMkLst>
            <pc:docMk/>
            <pc:sldMk cId="1614001374" sldId="269"/>
            <ac:spMk id="3" creationId="{D48A01CD-087A-9D54-DB4D-4881BBFBC9F0}"/>
          </ac:spMkLst>
        </pc:spChg>
        <pc:spChg chg="mod">
          <ac:chgData name="Vera van de Beek" userId="b3b668ba-35d7-46c6-a392-6da89df3b6a5" providerId="ADAL" clId="{EE42DB4E-8991-56E5-B342-9407ECBB0E3F}" dt="2025-12-10T11:41:06.930" v="1911" actId="20577"/>
          <ac:spMkLst>
            <pc:docMk/>
            <pc:sldMk cId="1614001374" sldId="269"/>
            <ac:spMk id="4" creationId="{B5E46354-FBC0-76B9-3669-2AA8846F1FDE}"/>
          </ac:spMkLst>
        </pc:spChg>
      </pc:sldChg>
      <pc:sldChg chg="addSp modSp mod modCm modNotesTx">
        <pc:chgData name="Vera van de Beek" userId="b3b668ba-35d7-46c6-a392-6da89df3b6a5" providerId="ADAL" clId="{EE42DB4E-8991-56E5-B342-9407ECBB0E3F}" dt="2025-12-10T11:48:14.828" v="1921" actId="20577"/>
        <pc:sldMkLst>
          <pc:docMk/>
          <pc:sldMk cId="3764324437" sldId="271"/>
        </pc:sldMkLst>
        <pc:spChg chg="mod">
          <ac:chgData name="Vera van de Beek" userId="b3b668ba-35d7-46c6-a392-6da89df3b6a5" providerId="ADAL" clId="{EE42DB4E-8991-56E5-B342-9407ECBB0E3F}" dt="2025-12-10T11:48:14.828" v="1921" actId="20577"/>
          <ac:spMkLst>
            <pc:docMk/>
            <pc:sldMk cId="3764324437" sldId="271"/>
            <ac:spMk id="4" creationId="{D5DFC5F8-A2AF-5D5C-F0D8-C8AB81B1606C}"/>
          </ac:spMkLst>
        </pc:spChg>
        <pc:spChg chg="mod">
          <ac:chgData name="Vera van de Beek" userId="b3b668ba-35d7-46c6-a392-6da89df3b6a5" providerId="ADAL" clId="{EE42DB4E-8991-56E5-B342-9407ECBB0E3F}" dt="2025-11-19T15:27:06.364" v="646" actId="20577"/>
          <ac:spMkLst>
            <pc:docMk/>
            <pc:sldMk cId="3764324437" sldId="271"/>
            <ac:spMk id="7" creationId="{4F7600E4-0FB6-F7AA-FD26-31C6FC310EB7}"/>
          </ac:spMkLst>
        </pc:spChg>
        <pc:spChg chg="mod">
          <ac:chgData name="Vera van de Beek" userId="b3b668ba-35d7-46c6-a392-6da89df3b6a5" providerId="ADAL" clId="{EE42DB4E-8991-56E5-B342-9407ECBB0E3F}" dt="2025-11-20T11:08:13.185" v="772" actId="20577"/>
          <ac:spMkLst>
            <pc:docMk/>
            <pc:sldMk cId="3764324437" sldId="271"/>
            <ac:spMk id="8" creationId="{3CAADD0A-F914-B09F-A307-E49CA1CAFEE2}"/>
          </ac:spMkLst>
        </pc:spChg>
        <pc:extLst>
          <p:ext xmlns:p="http://schemas.openxmlformats.org/presentationml/2006/main" uri="{D6D511B9-2390-475A-947B-AFAB55BFBCF1}">
            <pc226:cmChg xmlns:pc226="http://schemas.microsoft.com/office/powerpoint/2022/06/main/command" chg="mod">
              <pc226:chgData name="Vera van de Beek" userId="b3b668ba-35d7-46c6-a392-6da89df3b6a5" providerId="ADAL" clId="{EE42DB4E-8991-56E5-B342-9407ECBB0E3F}" dt="2025-11-12T11:16:41.556" v="46" actId="20577"/>
              <pc2:cmMkLst xmlns:pc2="http://schemas.microsoft.com/office/powerpoint/2019/9/main/command">
                <pc:docMk/>
                <pc:sldMk cId="3764324437" sldId="271"/>
                <pc2:cmMk id="{D959E823-5716-4A83-BA17-BDBCCE8B0DA5}"/>
              </pc2:cmMkLst>
            </pc226:cmChg>
          </p:ext>
        </pc:extLst>
      </pc:sldChg>
      <pc:sldChg chg="modSp mod modNotesTx">
        <pc:chgData name="Vera van de Beek" userId="b3b668ba-35d7-46c6-a392-6da89df3b6a5" providerId="ADAL" clId="{EE42DB4E-8991-56E5-B342-9407ECBB0E3F}" dt="2025-12-10T12:12:18.488" v="2415" actId="403"/>
        <pc:sldMkLst>
          <pc:docMk/>
          <pc:sldMk cId="2437641066" sldId="272"/>
        </pc:sldMkLst>
        <pc:spChg chg="mod">
          <ac:chgData name="Vera van de Beek" userId="b3b668ba-35d7-46c6-a392-6da89df3b6a5" providerId="ADAL" clId="{EE42DB4E-8991-56E5-B342-9407ECBB0E3F}" dt="2025-12-10T11:38:04.935" v="1876" actId="14100"/>
          <ac:spMkLst>
            <pc:docMk/>
            <pc:sldMk cId="2437641066" sldId="272"/>
            <ac:spMk id="4" creationId="{01C561A1-CE2B-823E-C48A-AA3F5E206411}"/>
          </ac:spMkLst>
        </pc:spChg>
        <pc:spChg chg="mod">
          <ac:chgData name="Vera van de Beek" userId="b3b668ba-35d7-46c6-a392-6da89df3b6a5" providerId="ADAL" clId="{EE42DB4E-8991-56E5-B342-9407ECBB0E3F}" dt="2025-12-10T12:12:18.488" v="2415" actId="403"/>
          <ac:spMkLst>
            <pc:docMk/>
            <pc:sldMk cId="2437641066" sldId="272"/>
            <ac:spMk id="9" creationId="{3BFCBF2C-37D7-98C0-F758-2DD0624C04FA}"/>
          </ac:spMkLst>
        </pc:spChg>
      </pc:sldChg>
      <pc:sldChg chg="modSp mod">
        <pc:chgData name="Vera van de Beek" userId="b3b668ba-35d7-46c6-a392-6da89df3b6a5" providerId="ADAL" clId="{EE42DB4E-8991-56E5-B342-9407ECBB0E3F}" dt="2025-12-10T12:06:15.761" v="2331" actId="20577"/>
        <pc:sldMkLst>
          <pc:docMk/>
          <pc:sldMk cId="297389844" sldId="275"/>
        </pc:sldMkLst>
        <pc:spChg chg="mod">
          <ac:chgData name="Vera van de Beek" userId="b3b668ba-35d7-46c6-a392-6da89df3b6a5" providerId="ADAL" clId="{EE42DB4E-8991-56E5-B342-9407ECBB0E3F}" dt="2025-12-10T12:06:15.761" v="2331" actId="20577"/>
          <ac:spMkLst>
            <pc:docMk/>
            <pc:sldMk cId="297389844" sldId="275"/>
            <ac:spMk id="3" creationId="{03C52539-7504-3F7B-E73E-74B0EDA146AF}"/>
          </ac:spMkLst>
        </pc:spChg>
      </pc:sldChg>
      <pc:sldChg chg="modSp mod">
        <pc:chgData name="Vera van de Beek" userId="b3b668ba-35d7-46c6-a392-6da89df3b6a5" providerId="ADAL" clId="{EE42DB4E-8991-56E5-B342-9407ECBB0E3F}" dt="2025-11-26T12:00:25.449" v="946" actId="2711"/>
        <pc:sldMkLst>
          <pc:docMk/>
          <pc:sldMk cId="1852977619" sldId="3562"/>
        </pc:sldMkLst>
        <pc:spChg chg="mod">
          <ac:chgData name="Vera van de Beek" userId="b3b668ba-35d7-46c6-a392-6da89df3b6a5" providerId="ADAL" clId="{EE42DB4E-8991-56E5-B342-9407ECBB0E3F}" dt="2025-11-26T12:00:11.233" v="943" actId="2711"/>
          <ac:spMkLst>
            <pc:docMk/>
            <pc:sldMk cId="1852977619" sldId="3562"/>
            <ac:spMk id="15" creationId="{85627E98-E49D-1290-F6E8-2F6F9ED01362}"/>
          </ac:spMkLst>
        </pc:spChg>
        <pc:spChg chg="mod">
          <ac:chgData name="Vera van de Beek" userId="b3b668ba-35d7-46c6-a392-6da89df3b6a5" providerId="ADAL" clId="{EE42DB4E-8991-56E5-B342-9407ECBB0E3F}" dt="2025-11-26T12:00:20.327" v="945" actId="2711"/>
          <ac:spMkLst>
            <pc:docMk/>
            <pc:sldMk cId="1852977619" sldId="3562"/>
            <ac:spMk id="21" creationId="{22CB5431-50CA-E145-15ED-8B9344112C65}"/>
          </ac:spMkLst>
        </pc:spChg>
        <pc:spChg chg="mod">
          <ac:chgData name="Vera van de Beek" userId="b3b668ba-35d7-46c6-a392-6da89df3b6a5" providerId="ADAL" clId="{EE42DB4E-8991-56E5-B342-9407ECBB0E3F}" dt="2025-11-26T12:00:15.638" v="944" actId="2711"/>
          <ac:spMkLst>
            <pc:docMk/>
            <pc:sldMk cId="1852977619" sldId="3562"/>
            <ac:spMk id="22" creationId="{639EC999-4F10-E79A-836D-9BA2C69BFF08}"/>
          </ac:spMkLst>
        </pc:spChg>
        <pc:spChg chg="mod">
          <ac:chgData name="Vera van de Beek" userId="b3b668ba-35d7-46c6-a392-6da89df3b6a5" providerId="ADAL" clId="{EE42DB4E-8991-56E5-B342-9407ECBB0E3F}" dt="2025-11-26T12:00:25.449" v="946" actId="2711"/>
          <ac:spMkLst>
            <pc:docMk/>
            <pc:sldMk cId="1852977619" sldId="3562"/>
            <ac:spMk id="23" creationId="{C3CED3C4-3F6A-B855-DF64-F9DA0E835E69}"/>
          </ac:spMkLst>
        </pc:spChg>
      </pc:sldChg>
      <pc:sldChg chg="modSp mod">
        <pc:chgData name="Vera van de Beek" userId="b3b668ba-35d7-46c6-a392-6da89df3b6a5" providerId="ADAL" clId="{EE42DB4E-8991-56E5-B342-9407ECBB0E3F}" dt="2025-11-26T12:00:48.180" v="947" actId="404"/>
        <pc:sldMkLst>
          <pc:docMk/>
          <pc:sldMk cId="1529552222" sldId="3576"/>
        </pc:sldMkLst>
        <pc:spChg chg="mod">
          <ac:chgData name="Vera van de Beek" userId="b3b668ba-35d7-46c6-a392-6da89df3b6a5" providerId="ADAL" clId="{EE42DB4E-8991-56E5-B342-9407ECBB0E3F}" dt="2025-11-26T11:33:14.500" v="820" actId="20577"/>
          <ac:spMkLst>
            <pc:docMk/>
            <pc:sldMk cId="1529552222" sldId="3576"/>
            <ac:spMk id="3" creationId="{D60F81DD-A279-591A-D95C-CD6221BADC93}"/>
          </ac:spMkLst>
        </pc:spChg>
        <pc:spChg chg="mod">
          <ac:chgData name="Vera van de Beek" userId="b3b668ba-35d7-46c6-a392-6da89df3b6a5" providerId="ADAL" clId="{EE42DB4E-8991-56E5-B342-9407ECBB0E3F}" dt="2025-11-26T11:32:48.250" v="788" actId="20577"/>
          <ac:spMkLst>
            <pc:docMk/>
            <pc:sldMk cId="1529552222" sldId="3576"/>
            <ac:spMk id="4" creationId="{B8AEC3C8-C74A-25E3-74FA-48688FA17F1F}"/>
          </ac:spMkLst>
        </pc:spChg>
        <pc:spChg chg="mod">
          <ac:chgData name="Vera van de Beek" userId="b3b668ba-35d7-46c6-a392-6da89df3b6a5" providerId="ADAL" clId="{EE42DB4E-8991-56E5-B342-9407ECBB0E3F}" dt="2025-11-26T12:00:48.180" v="947" actId="404"/>
          <ac:spMkLst>
            <pc:docMk/>
            <pc:sldMk cId="1529552222" sldId="3576"/>
            <ac:spMk id="12" creationId="{5364262D-B180-479B-B9FB-8B8CBEDA713B}"/>
          </ac:spMkLst>
        </pc:spChg>
      </pc:sldChg>
      <pc:sldChg chg="modSp mod">
        <pc:chgData name="Vera van de Beek" userId="b3b668ba-35d7-46c6-a392-6da89df3b6a5" providerId="ADAL" clId="{EE42DB4E-8991-56E5-B342-9407ECBB0E3F}" dt="2025-12-17T15:02:49.960" v="2629" actId="20577"/>
        <pc:sldMkLst>
          <pc:docMk/>
          <pc:sldMk cId="834944612" sldId="3578"/>
        </pc:sldMkLst>
        <pc:spChg chg="mod">
          <ac:chgData name="Vera van de Beek" userId="b3b668ba-35d7-46c6-a392-6da89df3b6a5" providerId="ADAL" clId="{EE42DB4E-8991-56E5-B342-9407ECBB0E3F}" dt="2025-12-17T15:02:49.960" v="2629" actId="20577"/>
          <ac:spMkLst>
            <pc:docMk/>
            <pc:sldMk cId="834944612" sldId="3578"/>
            <ac:spMk id="3" creationId="{3535CFB9-80DA-292C-0955-D0A8D3D1B77E}"/>
          </ac:spMkLst>
        </pc:spChg>
        <pc:spChg chg="mod">
          <ac:chgData name="Vera van de Beek" userId="b3b668ba-35d7-46c6-a392-6da89df3b6a5" providerId="ADAL" clId="{EE42DB4E-8991-56E5-B342-9407ECBB0E3F}" dt="2025-11-26T11:33:24.027" v="823" actId="20577"/>
          <ac:spMkLst>
            <pc:docMk/>
            <pc:sldMk cId="834944612" sldId="3578"/>
            <ac:spMk id="4" creationId="{CB0A1A81-DC5A-D626-401E-D6204499BCE6}"/>
          </ac:spMkLst>
        </pc:spChg>
        <pc:picChg chg="mod">
          <ac:chgData name="Vera van de Beek" userId="b3b668ba-35d7-46c6-a392-6da89df3b6a5" providerId="ADAL" clId="{EE42DB4E-8991-56E5-B342-9407ECBB0E3F}" dt="2025-12-17T15:01:40.783" v="2584" actId="1076"/>
          <ac:picMkLst>
            <pc:docMk/>
            <pc:sldMk cId="834944612" sldId="3578"/>
            <ac:picMk id="6146" creationId="{BBAD0DE6-7755-3CA2-9A8E-E9507C68ADE4}"/>
          </ac:picMkLst>
        </pc:picChg>
      </pc:sldChg>
      <pc:sldChg chg="addSp delSp modSp mod">
        <pc:chgData name="Vera van de Beek" userId="b3b668ba-35d7-46c6-a392-6da89df3b6a5" providerId="ADAL" clId="{EE42DB4E-8991-56E5-B342-9407ECBB0E3F}" dt="2025-12-10T11:52:38.472" v="1986" actId="14100"/>
        <pc:sldMkLst>
          <pc:docMk/>
          <pc:sldMk cId="383817918" sldId="3580"/>
        </pc:sldMkLst>
        <pc:spChg chg="mod">
          <ac:chgData name="Vera van de Beek" userId="b3b668ba-35d7-46c6-a392-6da89df3b6a5" providerId="ADAL" clId="{EE42DB4E-8991-56E5-B342-9407ECBB0E3F}" dt="2025-12-10T11:26:43.833" v="1536" actId="20577"/>
          <ac:spMkLst>
            <pc:docMk/>
            <pc:sldMk cId="383817918" sldId="3580"/>
            <ac:spMk id="3" creationId="{62124118-2ABF-7C2B-C6D7-55C3C2F66F5C}"/>
          </ac:spMkLst>
        </pc:spChg>
        <pc:spChg chg="add mod">
          <ac:chgData name="Vera van de Beek" userId="b3b668ba-35d7-46c6-a392-6da89df3b6a5" providerId="ADAL" clId="{EE42DB4E-8991-56E5-B342-9407ECBB0E3F}" dt="2025-12-10T11:52:38.472" v="1986" actId="14100"/>
          <ac:spMkLst>
            <pc:docMk/>
            <pc:sldMk cId="383817918" sldId="3580"/>
            <ac:spMk id="4" creationId="{2D051663-F9FA-EB70-9C4F-6FFCB7711FC5}"/>
          </ac:spMkLst>
        </pc:spChg>
        <pc:spChg chg="add mod">
          <ac:chgData name="Vera van de Beek" userId="b3b668ba-35d7-46c6-a392-6da89df3b6a5" providerId="ADAL" clId="{EE42DB4E-8991-56E5-B342-9407ECBB0E3F}" dt="2025-12-10T11:33:30.644" v="1795" actId="20577"/>
          <ac:spMkLst>
            <pc:docMk/>
            <pc:sldMk cId="383817918" sldId="3580"/>
            <ac:spMk id="6" creationId="{C683CDAD-B2D3-F155-898D-47F6A3CCFBB8}"/>
          </ac:spMkLst>
        </pc:spChg>
        <pc:graphicFrameChg chg="mod">
          <ac:chgData name="Vera van de Beek" userId="b3b668ba-35d7-46c6-a392-6da89df3b6a5" providerId="ADAL" clId="{EE42DB4E-8991-56E5-B342-9407ECBB0E3F}" dt="2025-12-10T11:26:21.430" v="1501"/>
          <ac:graphicFrameMkLst>
            <pc:docMk/>
            <pc:sldMk cId="383817918" sldId="3580"/>
            <ac:graphicFrameMk id="5" creationId="{D63F1115-80AC-F80B-27AA-974C5D33890A}"/>
          </ac:graphicFrameMkLst>
        </pc:graphicFrameChg>
      </pc:sldChg>
      <pc:sldChg chg="addSp delSp modSp add mod">
        <pc:chgData name="Vera van de Beek" userId="b3b668ba-35d7-46c6-a392-6da89df3b6a5" providerId="ADAL" clId="{EE42DB4E-8991-56E5-B342-9407ECBB0E3F}" dt="2025-12-10T11:40:50.052" v="1890" actId="255"/>
        <pc:sldMkLst>
          <pc:docMk/>
          <pc:sldMk cId="2514398837" sldId="3583"/>
        </pc:sldMkLst>
        <pc:spChg chg="mod">
          <ac:chgData name="Vera van de Beek" userId="b3b668ba-35d7-46c6-a392-6da89df3b6a5" providerId="ADAL" clId="{EE42DB4E-8991-56E5-B342-9407ECBB0E3F}" dt="2025-12-10T11:35:10.655" v="1874" actId="20577"/>
          <ac:spMkLst>
            <pc:docMk/>
            <pc:sldMk cId="2514398837" sldId="3583"/>
            <ac:spMk id="3" creationId="{F7B9F340-600C-11D8-C3C3-9CBFACEE0874}"/>
          </ac:spMkLst>
        </pc:spChg>
        <pc:spChg chg="add mod">
          <ac:chgData name="Vera van de Beek" userId="b3b668ba-35d7-46c6-a392-6da89df3b6a5" providerId="ADAL" clId="{EE42DB4E-8991-56E5-B342-9407ECBB0E3F}" dt="2025-12-10T11:40:50.052" v="1890" actId="255"/>
          <ac:spMkLst>
            <pc:docMk/>
            <pc:sldMk cId="2514398837" sldId="3583"/>
            <ac:spMk id="10" creationId="{BCDDD43A-D9D5-6DB1-D7D4-0A5EEE6844FD}"/>
          </ac:spMkLst>
        </pc:spChg>
        <pc:picChg chg="mod">
          <ac:chgData name="Vera van de Beek" userId="b3b668ba-35d7-46c6-a392-6da89df3b6a5" providerId="ADAL" clId="{EE42DB4E-8991-56E5-B342-9407ECBB0E3F}" dt="2025-12-10T11:34:55.678" v="1861" actId="1076"/>
          <ac:picMkLst>
            <pc:docMk/>
            <pc:sldMk cId="2514398837" sldId="3583"/>
            <ac:picMk id="6" creationId="{6EE3774F-37B1-4222-AC99-D1114F4CEF38}"/>
          </ac:picMkLst>
        </pc:picChg>
      </pc:sldChg>
      <pc:sldChg chg="addSp delSp modSp add mod">
        <pc:chgData name="Vera van de Beek" userId="b3b668ba-35d7-46c6-a392-6da89df3b6a5" providerId="ADAL" clId="{EE42DB4E-8991-56E5-B342-9407ECBB0E3F}" dt="2025-12-10T15:24:57.193" v="2431" actId="20577"/>
        <pc:sldMkLst>
          <pc:docMk/>
          <pc:sldMk cId="4268661334" sldId="3601"/>
        </pc:sldMkLst>
        <pc:spChg chg="add mod">
          <ac:chgData name="Vera van de Beek" userId="b3b668ba-35d7-46c6-a392-6da89df3b6a5" providerId="ADAL" clId="{EE42DB4E-8991-56E5-B342-9407ECBB0E3F}" dt="2025-12-10T11:40:43.781" v="1889" actId="255"/>
          <ac:spMkLst>
            <pc:docMk/>
            <pc:sldMk cId="4268661334" sldId="3601"/>
            <ac:spMk id="3" creationId="{F1CF172B-E971-397C-9BE3-8F3D40521BE0}"/>
          </ac:spMkLst>
        </pc:spChg>
        <pc:spChg chg="mod">
          <ac:chgData name="Vera van de Beek" userId="b3b668ba-35d7-46c6-a392-6da89df3b6a5" providerId="ADAL" clId="{EE42DB4E-8991-56E5-B342-9407ECBB0E3F}" dt="2025-12-10T15:24:54.294" v="2430" actId="20577"/>
          <ac:spMkLst>
            <pc:docMk/>
            <pc:sldMk cId="4268661334" sldId="3601"/>
            <ac:spMk id="4" creationId="{6678EE94-E7BB-78A9-AD7F-35A56A88096B}"/>
          </ac:spMkLst>
        </pc:spChg>
        <pc:spChg chg="mod">
          <ac:chgData name="Vera van de Beek" userId="b3b668ba-35d7-46c6-a392-6da89df3b6a5" providerId="ADAL" clId="{EE42DB4E-8991-56E5-B342-9407ECBB0E3F}" dt="2025-12-10T15:24:57.193" v="2431" actId="20577"/>
          <ac:spMkLst>
            <pc:docMk/>
            <pc:sldMk cId="4268661334" sldId="3601"/>
            <ac:spMk id="5" creationId="{32F92AC4-81CC-956C-B4D7-F1A5353FE7F6}"/>
          </ac:spMkLst>
        </pc:spChg>
        <pc:spChg chg="mod">
          <ac:chgData name="Vera van de Beek" userId="b3b668ba-35d7-46c6-a392-6da89df3b6a5" providerId="ADAL" clId="{EE42DB4E-8991-56E5-B342-9407ECBB0E3F}" dt="2025-12-10T15:24:42.828" v="2428" actId="12"/>
          <ac:spMkLst>
            <pc:docMk/>
            <pc:sldMk cId="4268661334" sldId="3601"/>
            <ac:spMk id="6" creationId="{A46FF6A6-6480-69A9-7859-120104A58A43}"/>
          </ac:spMkLst>
        </pc:spChg>
        <pc:spChg chg="mod">
          <ac:chgData name="Vera van de Beek" userId="b3b668ba-35d7-46c6-a392-6da89df3b6a5" providerId="ADAL" clId="{EE42DB4E-8991-56E5-B342-9407ECBB0E3F}" dt="2025-12-10T11:32:54.510" v="1775" actId="20577"/>
          <ac:spMkLst>
            <pc:docMk/>
            <pc:sldMk cId="4268661334" sldId="3601"/>
            <ac:spMk id="7" creationId="{D280FE41-82E3-5E38-E93D-C1685A21A737}"/>
          </ac:spMkLst>
        </pc:spChg>
        <pc:spChg chg="mod">
          <ac:chgData name="Vera van de Beek" userId="b3b668ba-35d7-46c6-a392-6da89df3b6a5" providerId="ADAL" clId="{EE42DB4E-8991-56E5-B342-9407ECBB0E3F}" dt="2025-12-10T11:32:48.299" v="1772" actId="20577"/>
          <ac:spMkLst>
            <pc:docMk/>
            <pc:sldMk cId="4268661334" sldId="3601"/>
            <ac:spMk id="8" creationId="{F91B2434-89E9-9E91-D138-8F6E8F099B86}"/>
          </ac:spMkLst>
        </pc:spChg>
      </pc:sldChg>
      <pc:sldChg chg="modSp add mod modNotesTx">
        <pc:chgData name="Vera van de Beek" userId="b3b668ba-35d7-46c6-a392-6da89df3b6a5" providerId="ADAL" clId="{EE42DB4E-8991-56E5-B342-9407ECBB0E3F}" dt="2025-12-10T12:17:32.326" v="2417"/>
        <pc:sldMkLst>
          <pc:docMk/>
          <pc:sldMk cId="1269789946" sldId="3602"/>
        </pc:sldMkLst>
        <pc:spChg chg="mod">
          <ac:chgData name="Vera van de Beek" userId="b3b668ba-35d7-46c6-a392-6da89df3b6a5" providerId="ADAL" clId="{EE42DB4E-8991-56E5-B342-9407ECBB0E3F}" dt="2025-12-10T12:17:32.326" v="2417"/>
          <ac:spMkLst>
            <pc:docMk/>
            <pc:sldMk cId="1269789946" sldId="3602"/>
            <ac:spMk id="3" creationId="{216E24AB-A169-784D-DB87-7DFF364AA3B8}"/>
          </ac:spMkLst>
        </pc:spChg>
        <pc:spChg chg="mod">
          <ac:chgData name="Vera van de Beek" userId="b3b668ba-35d7-46c6-a392-6da89df3b6a5" providerId="ADAL" clId="{EE42DB4E-8991-56E5-B342-9407ECBB0E3F}" dt="2025-12-10T11:42:56.894" v="1916" actId="20577"/>
          <ac:spMkLst>
            <pc:docMk/>
            <pc:sldMk cId="1269789946" sldId="3602"/>
            <ac:spMk id="4" creationId="{5FC78C29-E2A1-1509-83E9-61F191E386FB}"/>
          </ac:spMkLst>
        </pc:spChg>
      </pc:sldChg>
      <pc:sldChg chg="modSp mod">
        <pc:chgData name="Vera van de Beek" userId="b3b668ba-35d7-46c6-a392-6da89df3b6a5" providerId="ADAL" clId="{EE42DB4E-8991-56E5-B342-9407ECBB0E3F}" dt="2025-12-10T11:40:37.362" v="1888" actId="255"/>
        <pc:sldMkLst>
          <pc:docMk/>
          <pc:sldMk cId="4129097582" sldId="3650"/>
        </pc:sldMkLst>
        <pc:spChg chg="mod">
          <ac:chgData name="Vera van de Beek" userId="b3b668ba-35d7-46c6-a392-6da89df3b6a5" providerId="ADAL" clId="{EE42DB4E-8991-56E5-B342-9407ECBB0E3F}" dt="2025-12-10T11:40:37.362" v="1888" actId="255"/>
          <ac:spMkLst>
            <pc:docMk/>
            <pc:sldMk cId="4129097582" sldId="3650"/>
            <ac:spMk id="2" creationId="{8241FE7C-4057-8E7C-164E-9DB252A1D60C}"/>
          </ac:spMkLst>
        </pc:spChg>
        <pc:spChg chg="mod">
          <ac:chgData name="Vera van de Beek" userId="b3b668ba-35d7-46c6-a392-6da89df3b6a5" providerId="ADAL" clId="{EE42DB4E-8991-56E5-B342-9407ECBB0E3F}" dt="2025-12-10T11:33:51.793" v="1796" actId="115"/>
          <ac:spMkLst>
            <pc:docMk/>
            <pc:sldMk cId="4129097582" sldId="3650"/>
            <ac:spMk id="3" creationId="{83C523D6-1E49-DB66-8F1D-A3C021B67C00}"/>
          </ac:spMkLst>
        </pc:spChg>
      </pc:sldChg>
      <pc:sldChg chg="modSp mod modCm">
        <pc:chgData name="Vera van de Beek" userId="b3b668ba-35d7-46c6-a392-6da89df3b6a5" providerId="ADAL" clId="{EE42DB4E-8991-56E5-B342-9407ECBB0E3F}" dt="2025-12-10T12:04:14.192" v="2189" actId="113"/>
        <pc:sldMkLst>
          <pc:docMk/>
          <pc:sldMk cId="1509748762" sldId="3651"/>
        </pc:sldMkLst>
        <pc:spChg chg="mod">
          <ac:chgData name="Vera van de Beek" userId="b3b668ba-35d7-46c6-a392-6da89df3b6a5" providerId="ADAL" clId="{EE42DB4E-8991-56E5-B342-9407ECBB0E3F}" dt="2025-12-10T12:04:14.192" v="2189" actId="113"/>
          <ac:spMkLst>
            <pc:docMk/>
            <pc:sldMk cId="1509748762" sldId="3651"/>
            <ac:spMk id="3" creationId="{AEBD5981-98EF-7201-F829-943F91C36AF3}"/>
          </ac:spMkLst>
        </pc:spChg>
        <pc:extLst>
          <p:ext xmlns:p="http://schemas.openxmlformats.org/presentationml/2006/main" uri="{D6D511B9-2390-475A-947B-AFAB55BFBCF1}">
            <pc226:cmChg xmlns:pc226="http://schemas.microsoft.com/office/powerpoint/2022/06/main/command" chg="mod">
              <pc226:chgData name="Vera van de Beek" userId="b3b668ba-35d7-46c6-a392-6da89df3b6a5" providerId="ADAL" clId="{EE42DB4E-8991-56E5-B342-9407ECBB0E3F}" dt="2025-11-12T11:17:10.191" v="60" actId="20577"/>
              <pc2:cmMkLst xmlns:pc2="http://schemas.microsoft.com/office/powerpoint/2019/9/main/command">
                <pc:docMk/>
                <pc:sldMk cId="1509748762" sldId="3651"/>
                <pc2:cmMk id="{71510C49-7768-4682-B64F-E7D159FCC7DB}"/>
              </pc2:cmMkLst>
            </pc226:cmChg>
            <pc226:cmChg xmlns:pc226="http://schemas.microsoft.com/office/powerpoint/2022/06/main/command" chg="mod">
              <pc226:chgData name="Vera van de Beek" userId="b3b668ba-35d7-46c6-a392-6da89df3b6a5" providerId="ADAL" clId="{EE42DB4E-8991-56E5-B342-9407ECBB0E3F}" dt="2025-11-12T11:19:31.778" v="183" actId="20577"/>
              <pc2:cmMkLst xmlns:pc2="http://schemas.microsoft.com/office/powerpoint/2019/9/main/command">
                <pc:docMk/>
                <pc:sldMk cId="1509748762" sldId="3651"/>
                <pc2:cmMk id="{27C7166D-C438-4F1A-9382-6591814D4E5B}"/>
              </pc2:cmMkLst>
            </pc226:cmChg>
          </p:ext>
        </pc:extLst>
      </pc:sldChg>
      <pc:sldChg chg="modSp new del mod">
        <pc:chgData name="Vera van de Beek" userId="b3b668ba-35d7-46c6-a392-6da89df3b6a5" providerId="ADAL" clId="{EE42DB4E-8991-56E5-B342-9407ECBB0E3F}" dt="2025-12-10T11:31:12.704" v="1724" actId="2696"/>
        <pc:sldMkLst>
          <pc:docMk/>
          <pc:sldMk cId="1193654597" sldId="3653"/>
        </pc:sldMkLst>
      </pc:sldChg>
    </pc:docChg>
  </pc:docChgLst>
  <pc:docChgLst>
    <pc:chgData name="Vera van de Beek" userId="b3b668ba-35d7-46c6-a392-6da89df3b6a5" providerId="ADAL" clId="{8AED59C0-6585-41C4-9FA0-442E9B66EFB4}"/>
    <pc:docChg chg="undo redo custSel addSld modSld modSection">
      <pc:chgData name="Vera van de Beek" userId="b3b668ba-35d7-46c6-a392-6da89df3b6a5" providerId="ADAL" clId="{8AED59C0-6585-41C4-9FA0-442E9B66EFB4}" dt="2025-12-17T08:20:15.990" v="1003" actId="14100"/>
      <pc:docMkLst>
        <pc:docMk/>
      </pc:docMkLst>
      <pc:sldChg chg="addSp delSp modSp mod">
        <pc:chgData name="Vera van de Beek" userId="b3b668ba-35d7-46c6-a392-6da89df3b6a5" providerId="ADAL" clId="{8AED59C0-6585-41C4-9FA0-442E9B66EFB4}" dt="2025-11-25T16:07:02.073" v="536" actId="1076"/>
        <pc:sldMkLst>
          <pc:docMk/>
          <pc:sldMk cId="2447358596" sldId="257"/>
        </pc:sldMkLst>
        <pc:spChg chg="mod">
          <ac:chgData name="Vera van de Beek" userId="b3b668ba-35d7-46c6-a392-6da89df3b6a5" providerId="ADAL" clId="{8AED59C0-6585-41C4-9FA0-442E9B66EFB4}" dt="2025-11-25T16:06:16.351" v="535" actId="20577"/>
          <ac:spMkLst>
            <pc:docMk/>
            <pc:sldMk cId="2447358596" sldId="257"/>
            <ac:spMk id="8" creationId="{82B39638-DC9D-DF14-5770-8CE19F79448F}"/>
          </ac:spMkLst>
        </pc:spChg>
        <pc:picChg chg="mod">
          <ac:chgData name="Vera van de Beek" userId="b3b668ba-35d7-46c6-a392-6da89df3b6a5" providerId="ADAL" clId="{8AED59C0-6585-41C4-9FA0-442E9B66EFB4}" dt="2025-11-25T15:53:12.035" v="238" actId="1076"/>
          <ac:picMkLst>
            <pc:docMk/>
            <pc:sldMk cId="2447358596" sldId="257"/>
            <ac:picMk id="5" creationId="{CB1BA874-1465-00D7-AC7A-8597DA597E49}"/>
          </ac:picMkLst>
        </pc:picChg>
        <pc:picChg chg="mod">
          <ac:chgData name="Vera van de Beek" userId="b3b668ba-35d7-46c6-a392-6da89df3b6a5" providerId="ADAL" clId="{8AED59C0-6585-41C4-9FA0-442E9B66EFB4}" dt="2025-11-25T15:53:13.579" v="239" actId="1076"/>
          <ac:picMkLst>
            <pc:docMk/>
            <pc:sldMk cId="2447358596" sldId="257"/>
            <ac:picMk id="6" creationId="{7A4119B8-91F4-5D5E-F9D9-F628C1B0F0F6}"/>
          </ac:picMkLst>
        </pc:picChg>
      </pc:sldChg>
      <pc:sldChg chg="delSp mod">
        <pc:chgData name="Vera van de Beek" userId="b3b668ba-35d7-46c6-a392-6da89df3b6a5" providerId="ADAL" clId="{8AED59C0-6585-41C4-9FA0-442E9B66EFB4}" dt="2025-12-02T12:13:24.195" v="751" actId="478"/>
        <pc:sldMkLst>
          <pc:docMk/>
          <pc:sldMk cId="3764324437" sldId="271"/>
        </pc:sldMkLst>
      </pc:sldChg>
      <pc:sldChg chg="modSp mod">
        <pc:chgData name="Vera van de Beek" userId="b3b668ba-35d7-46c6-a392-6da89df3b6a5" providerId="ADAL" clId="{8AED59C0-6585-41C4-9FA0-442E9B66EFB4}" dt="2025-12-17T08:20:15.990" v="1003" actId="14100"/>
        <pc:sldMkLst>
          <pc:docMk/>
          <pc:sldMk cId="2437641066" sldId="272"/>
        </pc:sldMkLst>
        <pc:picChg chg="mod">
          <ac:chgData name="Vera van de Beek" userId="b3b668ba-35d7-46c6-a392-6da89df3b6a5" providerId="ADAL" clId="{8AED59C0-6585-41C4-9FA0-442E9B66EFB4}" dt="2025-12-16T14:03:04.459" v="1001" actId="14100"/>
          <ac:picMkLst>
            <pc:docMk/>
            <pc:sldMk cId="2437641066" sldId="272"/>
            <ac:picMk id="10" creationId="{B617400C-01CA-6192-74AE-B2B80889A15D}"/>
          </ac:picMkLst>
        </pc:picChg>
        <pc:picChg chg="mod">
          <ac:chgData name="Vera van de Beek" userId="b3b668ba-35d7-46c6-a392-6da89df3b6a5" providerId="ADAL" clId="{8AED59C0-6585-41C4-9FA0-442E9B66EFB4}" dt="2025-12-17T08:20:15.990" v="1003" actId="14100"/>
          <ac:picMkLst>
            <pc:docMk/>
            <pc:sldMk cId="2437641066" sldId="272"/>
            <ac:picMk id="11" creationId="{8D9861F6-5E28-89A5-6568-EBFE97F4E48D}"/>
          </ac:picMkLst>
        </pc:picChg>
      </pc:sldChg>
      <pc:sldChg chg="modSp mod">
        <pc:chgData name="Vera van de Beek" userId="b3b668ba-35d7-46c6-a392-6da89df3b6a5" providerId="ADAL" clId="{8AED59C0-6585-41C4-9FA0-442E9B66EFB4}" dt="2025-11-25T15:51:55.058" v="217" actId="20577"/>
        <pc:sldMkLst>
          <pc:docMk/>
          <pc:sldMk cId="834944612" sldId="3578"/>
        </pc:sldMkLst>
        <pc:spChg chg="mod">
          <ac:chgData name="Vera van de Beek" userId="b3b668ba-35d7-46c6-a392-6da89df3b6a5" providerId="ADAL" clId="{8AED59C0-6585-41C4-9FA0-442E9B66EFB4}" dt="2025-11-25T15:51:55.058" v="217" actId="20577"/>
          <ac:spMkLst>
            <pc:docMk/>
            <pc:sldMk cId="834944612" sldId="3578"/>
            <ac:spMk id="3" creationId="{3535CFB9-80DA-292C-0955-D0A8D3D1B77E}"/>
          </ac:spMkLst>
        </pc:spChg>
      </pc:sldChg>
      <pc:sldChg chg="addSp delSp modSp new mod">
        <pc:chgData name="Vera van de Beek" userId="b3b668ba-35d7-46c6-a392-6da89df3b6a5" providerId="ADAL" clId="{8AED59C0-6585-41C4-9FA0-442E9B66EFB4}" dt="2025-12-02T12:17:45.548" v="998" actId="1076"/>
        <pc:sldMkLst>
          <pc:docMk/>
          <pc:sldMk cId="2416474102" sldId="3652"/>
        </pc:sldMkLst>
        <pc:spChg chg="add del mod">
          <ac:chgData name="Vera van de Beek" userId="b3b668ba-35d7-46c6-a392-6da89df3b6a5" providerId="ADAL" clId="{8AED59C0-6585-41C4-9FA0-442E9B66EFB4}" dt="2025-12-02T12:17:12.642" v="991" actId="20577"/>
          <ac:spMkLst>
            <pc:docMk/>
            <pc:sldMk cId="2416474102" sldId="3652"/>
            <ac:spMk id="3" creationId="{152101A7-8ADD-BB25-FF53-9B83E988B48C}"/>
          </ac:spMkLst>
        </pc:spChg>
        <pc:spChg chg="mod">
          <ac:chgData name="Vera van de Beek" userId="b3b668ba-35d7-46c6-a392-6da89df3b6a5" providerId="ADAL" clId="{8AED59C0-6585-41C4-9FA0-442E9B66EFB4}" dt="2025-12-02T12:11:36.736" v="587" actId="20577"/>
          <ac:spMkLst>
            <pc:docMk/>
            <pc:sldMk cId="2416474102" sldId="3652"/>
            <ac:spMk id="4" creationId="{68ACDE89-9C63-F8D3-169C-07DB7D9EEBC2}"/>
          </ac:spMkLst>
        </pc:spChg>
        <pc:spChg chg="add mod">
          <ac:chgData name="Vera van de Beek" userId="b3b668ba-35d7-46c6-a392-6da89df3b6a5" providerId="ADAL" clId="{8AED59C0-6585-41C4-9FA0-442E9B66EFB4}" dt="2025-12-02T12:17:45.548" v="998" actId="1076"/>
          <ac:spMkLst>
            <pc:docMk/>
            <pc:sldMk cId="2416474102" sldId="3652"/>
            <ac:spMk id="9" creationId="{096A0EE1-08F8-AFD9-E158-367F7A65B381}"/>
          </ac:spMkLst>
        </pc:spChg>
        <pc:picChg chg="add mod">
          <ac:chgData name="Vera van de Beek" userId="b3b668ba-35d7-46c6-a392-6da89df3b6a5" providerId="ADAL" clId="{8AED59C0-6585-41C4-9FA0-442E9B66EFB4}" dt="2025-12-02T12:15:34.399" v="972" actId="1076"/>
          <ac:picMkLst>
            <pc:docMk/>
            <pc:sldMk cId="2416474102" sldId="3652"/>
            <ac:picMk id="8" creationId="{1BBD131A-B080-343E-F98B-919971F544E9}"/>
          </ac:picMkLst>
        </pc:picChg>
      </pc:sldChg>
    </pc:docChg>
  </pc:docChgLst>
  <pc:docChgLst>
    <pc:chgData name="Vera van de Beek" userId="S::v.vandebeek@lnaz.nl::b3b668ba-35d7-46c6-a392-6da89df3b6a5" providerId="AD" clId="Web-{421ADE4B-42DA-5856-469F-E8F60237BDC6}"/>
    <pc:docChg chg="modSld">
      <pc:chgData name="Vera van de Beek" userId="S::v.vandebeek@lnaz.nl::b3b668ba-35d7-46c6-a392-6da89df3b6a5" providerId="AD" clId="Web-{421ADE4B-42DA-5856-469F-E8F60237BDC6}" dt="2025-11-12T09:15:30.581" v="4" actId="20577"/>
      <pc:docMkLst>
        <pc:docMk/>
      </pc:docMkLst>
      <pc:sldChg chg="modSp">
        <pc:chgData name="Vera van de Beek" userId="S::v.vandebeek@lnaz.nl::b3b668ba-35d7-46c6-a392-6da89df3b6a5" providerId="AD" clId="Web-{421ADE4B-42DA-5856-469F-E8F60237BDC6}" dt="2025-11-12T09:15:30.581" v="4" actId="20577"/>
        <pc:sldMkLst>
          <pc:docMk/>
          <pc:sldMk cId="834944612" sldId="3578"/>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DCE899C-FE3F-4E67-9089-11F758D06333}" type="doc">
      <dgm:prSet loTypeId="urn:microsoft.com/office/officeart/2005/8/layout/lProcess3" loCatId="process" qsTypeId="urn:microsoft.com/office/officeart/2005/8/quickstyle/simple1" qsCatId="simple" csTypeId="urn:microsoft.com/office/officeart/2005/8/colors/accent1_2" csCatId="accent1" phldr="1"/>
      <dgm:spPr/>
      <dgm:t>
        <a:bodyPr/>
        <a:lstStyle/>
        <a:p>
          <a:endParaRPr lang="nl-NL"/>
        </a:p>
      </dgm:t>
    </dgm:pt>
    <dgm:pt modelId="{84803269-A90D-4E29-8996-0A7369FD460C}">
      <dgm:prSet phldrT="[Tekst]" custT="1"/>
      <dgm:spPr>
        <a:solidFill>
          <a:srgbClr val="1D5886"/>
        </a:solidFill>
      </dgm:spPr>
      <dgm:t>
        <a:bodyPr/>
        <a:lstStyle/>
        <a:p>
          <a:r>
            <a:rPr lang="nl-NL" sz="1200" b="1">
              <a:latin typeface="Barlow" panose="00000500000000000000" pitchFamily="2" charset="0"/>
            </a:rPr>
            <a:t>Kindergeneeskunde en neonatologie dashboard LPZ</a:t>
          </a:r>
        </a:p>
      </dgm:t>
    </dgm:pt>
    <dgm:pt modelId="{F00A9C1F-4184-4D73-9CAF-0DAC1075774C}" type="parTrans" cxnId="{86465AD2-F6F9-4188-8ADA-A408FC614A7D}">
      <dgm:prSet/>
      <dgm:spPr/>
      <dgm:t>
        <a:bodyPr/>
        <a:lstStyle/>
        <a:p>
          <a:endParaRPr lang="nl-NL" sz="2000"/>
        </a:p>
      </dgm:t>
    </dgm:pt>
    <dgm:pt modelId="{A2D5F427-90EF-421B-AC9D-3DC4F6501229}" type="sibTrans" cxnId="{86465AD2-F6F9-4188-8ADA-A408FC614A7D}">
      <dgm:prSet/>
      <dgm:spPr/>
      <dgm:t>
        <a:bodyPr/>
        <a:lstStyle/>
        <a:p>
          <a:endParaRPr lang="nl-NL" sz="2000"/>
        </a:p>
      </dgm:t>
    </dgm:pt>
    <dgm:pt modelId="{5BB66C42-377A-4E3A-B677-0ED57D7C2A79}">
      <dgm:prSet phldrT="[Tekst]" custT="1"/>
      <dgm:spPr>
        <a:solidFill>
          <a:srgbClr val="92D050">
            <a:alpha val="90000"/>
          </a:srgbClr>
        </a:solidFill>
        <a:ln>
          <a:solidFill>
            <a:srgbClr val="F2F3F4">
              <a:alpha val="90000"/>
            </a:srgbClr>
          </a:solidFill>
        </a:ln>
      </dgm:spPr>
      <dgm:t>
        <a:bodyPr/>
        <a:lstStyle/>
        <a:p>
          <a:r>
            <a:rPr lang="nl-NL" sz="1200">
              <a:solidFill>
                <a:srgbClr val="1D5886"/>
              </a:solidFill>
              <a:latin typeface="Barlow" panose="00000500000000000000" pitchFamily="2" charset="0"/>
            </a:rPr>
            <a:t>Oplevering</a:t>
          </a:r>
          <a:r>
            <a:rPr lang="nl-NL" sz="1200" b="1">
              <a:solidFill>
                <a:srgbClr val="1D5886"/>
              </a:solidFill>
              <a:latin typeface="Barlow" panose="00000500000000000000" pitchFamily="2" charset="0"/>
            </a:rPr>
            <a:t> 6 januari 2026</a:t>
          </a:r>
        </a:p>
      </dgm:t>
    </dgm:pt>
    <dgm:pt modelId="{D9EF71C2-F8E7-4509-A76A-2078278ED19A}" type="parTrans" cxnId="{3275F460-A37F-4928-B5DE-50E0D83839FA}">
      <dgm:prSet/>
      <dgm:spPr/>
      <dgm:t>
        <a:bodyPr/>
        <a:lstStyle/>
        <a:p>
          <a:endParaRPr lang="nl-NL" sz="2000"/>
        </a:p>
      </dgm:t>
    </dgm:pt>
    <dgm:pt modelId="{ADF92326-D79B-45C2-97DD-1835B3ED8980}" type="sibTrans" cxnId="{3275F460-A37F-4928-B5DE-50E0D83839FA}">
      <dgm:prSet/>
      <dgm:spPr/>
      <dgm:t>
        <a:bodyPr/>
        <a:lstStyle/>
        <a:p>
          <a:endParaRPr lang="nl-NL" sz="2000"/>
        </a:p>
      </dgm:t>
    </dgm:pt>
    <dgm:pt modelId="{3943794A-77FF-4125-9E59-1D28ADFC850E}">
      <dgm:prSet phldrT="[Tekst]" custT="1"/>
      <dgm:spPr>
        <a:solidFill>
          <a:srgbClr val="1D5886"/>
        </a:solidFill>
      </dgm:spPr>
      <dgm:t>
        <a:bodyPr/>
        <a:lstStyle/>
        <a:p>
          <a:r>
            <a:rPr lang="nl-NL" sz="1200" b="1">
              <a:latin typeface="Barlow" panose="00000500000000000000" pitchFamily="2" charset="0"/>
            </a:rPr>
            <a:t>Kindergeneeskunde en neonatologie dashboard LPZ</a:t>
          </a:r>
        </a:p>
      </dgm:t>
    </dgm:pt>
    <dgm:pt modelId="{7518ACB9-D602-4FC8-BC2C-270415DEAACE}" type="parTrans" cxnId="{ED4767EE-E31B-4D65-8910-AA8B26167CA4}">
      <dgm:prSet/>
      <dgm:spPr/>
      <dgm:t>
        <a:bodyPr/>
        <a:lstStyle/>
        <a:p>
          <a:endParaRPr lang="nl-NL" sz="2000"/>
        </a:p>
      </dgm:t>
    </dgm:pt>
    <dgm:pt modelId="{6A6E0E63-F9F5-47CF-8CD4-A54BE6D85A52}" type="sibTrans" cxnId="{ED4767EE-E31B-4D65-8910-AA8B26167CA4}">
      <dgm:prSet/>
      <dgm:spPr/>
      <dgm:t>
        <a:bodyPr/>
        <a:lstStyle/>
        <a:p>
          <a:endParaRPr lang="nl-NL" sz="2000"/>
        </a:p>
      </dgm:t>
    </dgm:pt>
    <dgm:pt modelId="{2ADBE8F1-8597-45EE-8DED-ACD0CC0962A7}">
      <dgm:prSet phldrT="[Tekst]" custT="1"/>
      <dgm:spPr>
        <a:solidFill>
          <a:srgbClr val="F2F3F4">
            <a:alpha val="90000"/>
          </a:srgbClr>
        </a:solidFill>
        <a:ln>
          <a:solidFill>
            <a:srgbClr val="F2F3F4">
              <a:alpha val="90000"/>
            </a:srgbClr>
          </a:solidFill>
        </a:ln>
      </dgm:spPr>
      <dgm:t>
        <a:bodyPr/>
        <a:lstStyle/>
        <a:p>
          <a:r>
            <a:rPr lang="nl-NL" sz="1200" b="1">
              <a:solidFill>
                <a:srgbClr val="1D5886"/>
              </a:solidFill>
              <a:latin typeface="Barlow" panose="00000500000000000000" pitchFamily="2" charset="0"/>
            </a:rPr>
            <a:t>Januari-maart ’26</a:t>
          </a:r>
        </a:p>
        <a:p>
          <a:r>
            <a:rPr lang="nl-NL" sz="1200" b="0">
              <a:solidFill>
                <a:srgbClr val="1D5886"/>
              </a:solidFill>
              <a:latin typeface="Barlow" panose="00000500000000000000" pitchFamily="2" charset="0"/>
            </a:rPr>
            <a:t>Implementatie</a:t>
          </a:r>
        </a:p>
        <a:p>
          <a:endParaRPr lang="nl-NL" sz="1200" b="0">
            <a:solidFill>
              <a:srgbClr val="1D5886"/>
            </a:solidFill>
            <a:latin typeface="Barlow" panose="00000500000000000000" pitchFamily="2" charset="0"/>
          </a:endParaRPr>
        </a:p>
      </dgm:t>
    </dgm:pt>
    <dgm:pt modelId="{EDD83085-2034-49AE-A79D-D7FBE5AB2060}" type="parTrans" cxnId="{245C31FD-DDDC-446D-A8A6-F86BAC9F84A6}">
      <dgm:prSet/>
      <dgm:spPr/>
      <dgm:t>
        <a:bodyPr/>
        <a:lstStyle/>
        <a:p>
          <a:endParaRPr lang="nl-NL" sz="2000"/>
        </a:p>
      </dgm:t>
    </dgm:pt>
    <dgm:pt modelId="{032E516A-8A35-4318-9787-CF19C9C985FB}" type="sibTrans" cxnId="{245C31FD-DDDC-446D-A8A6-F86BAC9F84A6}">
      <dgm:prSet/>
      <dgm:spPr/>
      <dgm:t>
        <a:bodyPr/>
        <a:lstStyle/>
        <a:p>
          <a:endParaRPr lang="nl-NL" sz="2000"/>
        </a:p>
      </dgm:t>
    </dgm:pt>
    <dgm:pt modelId="{187D61CE-A4C2-43D4-8433-F6DCB167E56F}">
      <dgm:prSet phldrT="[Tekst]" custT="1"/>
      <dgm:spPr>
        <a:solidFill>
          <a:srgbClr val="92D050"/>
        </a:solidFill>
        <a:ln>
          <a:solidFill>
            <a:srgbClr val="F2F3F4">
              <a:alpha val="90000"/>
            </a:srgbClr>
          </a:solidFill>
        </a:ln>
      </dgm:spPr>
      <dgm:t>
        <a:bodyPr/>
        <a:lstStyle/>
        <a:p>
          <a:endParaRPr lang="nl-NL" sz="1200" b="1">
            <a:solidFill>
              <a:srgbClr val="1D5886"/>
            </a:solidFill>
            <a:latin typeface="Barlow" panose="00000500000000000000" pitchFamily="2" charset="0"/>
          </a:endParaRPr>
        </a:p>
        <a:p>
          <a:r>
            <a:rPr lang="nl-NL" sz="1200" b="1">
              <a:solidFill>
                <a:srgbClr val="1D5886"/>
              </a:solidFill>
              <a:latin typeface="Barlow" panose="00000500000000000000" pitchFamily="2" charset="0"/>
            </a:rPr>
            <a:t>December ’25</a:t>
          </a:r>
        </a:p>
        <a:p>
          <a:r>
            <a:rPr lang="nl-NL" sz="1200">
              <a:solidFill>
                <a:srgbClr val="1D5886"/>
              </a:solidFill>
              <a:latin typeface="Barlow" panose="00000500000000000000" pitchFamily="2" charset="0"/>
            </a:rPr>
            <a:t>Doorvoeren feedback</a:t>
          </a:r>
        </a:p>
        <a:p>
          <a:r>
            <a:rPr lang="nl-NL" sz="1200">
              <a:solidFill>
                <a:srgbClr val="1D5886"/>
              </a:solidFill>
              <a:latin typeface="Barlow" panose="00000500000000000000" pitchFamily="2" charset="0"/>
            </a:rPr>
            <a:t>2</a:t>
          </a:r>
          <a:r>
            <a:rPr lang="nl-NL" sz="1200" baseline="30000">
              <a:solidFill>
                <a:srgbClr val="1D5886"/>
              </a:solidFill>
              <a:latin typeface="Barlow" panose="00000500000000000000" pitchFamily="2" charset="0"/>
            </a:rPr>
            <a:t>e</a:t>
          </a:r>
          <a:r>
            <a:rPr lang="nl-NL" sz="1200">
              <a:solidFill>
                <a:srgbClr val="1D5886"/>
              </a:solidFill>
              <a:latin typeface="Barlow" panose="00000500000000000000" pitchFamily="2" charset="0"/>
            </a:rPr>
            <a:t> Klankbordgroep bijeenkomst</a:t>
          </a:r>
        </a:p>
        <a:p>
          <a:endParaRPr lang="nl-NL" sz="1200">
            <a:solidFill>
              <a:srgbClr val="1D5886"/>
            </a:solidFill>
            <a:latin typeface="Barlow" panose="00000500000000000000" pitchFamily="2" charset="0"/>
          </a:endParaRPr>
        </a:p>
      </dgm:t>
    </dgm:pt>
    <dgm:pt modelId="{A30813D2-4F01-43CB-93B2-DA89C2EF9226}" type="parTrans" cxnId="{F8D8E388-FCE3-499B-8E02-A2E792A45DC9}">
      <dgm:prSet/>
      <dgm:spPr/>
      <dgm:t>
        <a:bodyPr/>
        <a:lstStyle/>
        <a:p>
          <a:endParaRPr lang="nl-NL" sz="2000"/>
        </a:p>
      </dgm:t>
    </dgm:pt>
    <dgm:pt modelId="{3C1AC14B-CEF8-4C6A-899F-9861725AA8C4}" type="sibTrans" cxnId="{F8D8E388-FCE3-499B-8E02-A2E792A45DC9}">
      <dgm:prSet/>
      <dgm:spPr/>
      <dgm:t>
        <a:bodyPr/>
        <a:lstStyle/>
        <a:p>
          <a:endParaRPr lang="nl-NL" sz="2000"/>
        </a:p>
      </dgm:t>
    </dgm:pt>
    <dgm:pt modelId="{B2B180D9-4DBA-4E8A-8492-BD013ACA38F7}">
      <dgm:prSet phldrT="[Tekst]" custT="1"/>
      <dgm:spPr>
        <a:solidFill>
          <a:srgbClr val="F2F3F4">
            <a:alpha val="90000"/>
          </a:srgbClr>
        </a:solidFill>
        <a:ln>
          <a:solidFill>
            <a:srgbClr val="F2F3F4">
              <a:alpha val="90000"/>
            </a:srgbClr>
          </a:solidFill>
        </a:ln>
      </dgm:spPr>
      <dgm:t>
        <a:bodyPr/>
        <a:lstStyle/>
        <a:p>
          <a:pPr marL="0" lvl="0" algn="ctr" defTabSz="533400">
            <a:lnSpc>
              <a:spcPct val="90000"/>
            </a:lnSpc>
            <a:spcBef>
              <a:spcPct val="0"/>
            </a:spcBef>
            <a:spcAft>
              <a:spcPct val="35000"/>
            </a:spcAft>
            <a:buNone/>
          </a:pPr>
          <a:r>
            <a:rPr lang="nl-NL" sz="1200" b="1" kern="1200">
              <a:solidFill>
                <a:srgbClr val="1D5886"/>
              </a:solidFill>
              <a:latin typeface="Barlow" panose="00000500000000000000" pitchFamily="2" charset="0"/>
              <a:ea typeface="+mn-ea"/>
              <a:cs typeface="+mn-cs"/>
            </a:rPr>
            <a:t>8 april ’26</a:t>
          </a:r>
        </a:p>
        <a:p>
          <a:pPr marL="0" lvl="0" indent="0" algn="ctr" defTabSz="533400">
            <a:lnSpc>
              <a:spcPct val="90000"/>
            </a:lnSpc>
            <a:spcBef>
              <a:spcPct val="0"/>
            </a:spcBef>
            <a:spcAft>
              <a:spcPct val="35000"/>
            </a:spcAft>
            <a:buNone/>
          </a:pPr>
          <a:r>
            <a:rPr lang="nl-NL" sz="1200" b="0" kern="1200">
              <a:solidFill>
                <a:srgbClr val="1D5886"/>
              </a:solidFill>
              <a:latin typeface="Barlow" panose="00000500000000000000" pitchFamily="2" charset="0"/>
              <a:ea typeface="+mn-ea"/>
              <a:cs typeface="+mn-cs"/>
            </a:rPr>
            <a:t>Officiële livegang LPZ en uitfasering </a:t>
          </a:r>
          <a:r>
            <a:rPr lang="nl-NL" sz="1200" b="1" i="1" kern="1200" err="1">
              <a:solidFill>
                <a:srgbClr val="0070C0"/>
              </a:solidFill>
              <a:latin typeface="Barlow" pitchFamily="2" charset="77"/>
            </a:rPr>
            <a:t>kindzoektbed</a:t>
          </a:r>
          <a:r>
            <a:rPr lang="nl-NL" sz="1200" b="0" kern="1200">
              <a:solidFill>
                <a:srgbClr val="1D5886"/>
              </a:solidFill>
              <a:latin typeface="Barlow" panose="00000500000000000000" pitchFamily="2" charset="0"/>
              <a:ea typeface="+mn-ea"/>
              <a:cs typeface="+mn-cs"/>
            </a:rPr>
            <a:t>*</a:t>
          </a:r>
        </a:p>
      </dgm:t>
    </dgm:pt>
    <dgm:pt modelId="{61337BD2-47FD-4F8C-AC0E-C10559D393A9}" type="parTrans" cxnId="{55135326-D77F-406A-984F-9830BB55D857}">
      <dgm:prSet/>
      <dgm:spPr/>
      <dgm:t>
        <a:bodyPr/>
        <a:lstStyle/>
        <a:p>
          <a:endParaRPr lang="nl-NL" sz="2000"/>
        </a:p>
      </dgm:t>
    </dgm:pt>
    <dgm:pt modelId="{D72563D0-8441-4CC8-B2C3-407303411ADF}" type="sibTrans" cxnId="{55135326-D77F-406A-984F-9830BB55D857}">
      <dgm:prSet/>
      <dgm:spPr/>
      <dgm:t>
        <a:bodyPr/>
        <a:lstStyle/>
        <a:p>
          <a:endParaRPr lang="nl-NL" sz="2000"/>
        </a:p>
      </dgm:t>
    </dgm:pt>
    <dgm:pt modelId="{1126776F-0E4D-4ED6-82E4-7F3A9AD71664}">
      <dgm:prSet phldrT="[Tekst]" custT="1"/>
      <dgm:spPr>
        <a:solidFill>
          <a:srgbClr val="F2F3F4">
            <a:alpha val="90000"/>
          </a:srgbClr>
        </a:solidFill>
        <a:ln>
          <a:solidFill>
            <a:srgbClr val="F2F3F4">
              <a:alpha val="90000"/>
            </a:srgbClr>
          </a:solidFill>
        </a:ln>
      </dgm:spPr>
      <dgm:t>
        <a:bodyPr/>
        <a:lstStyle/>
        <a:p>
          <a:r>
            <a:rPr lang="nl-NL" sz="1200" b="1">
              <a:solidFill>
                <a:srgbClr val="1D5886"/>
              </a:solidFill>
              <a:latin typeface="Barlow" panose="00000500000000000000" pitchFamily="2" charset="0"/>
            </a:rPr>
            <a:t>Mei ’26</a:t>
          </a:r>
        </a:p>
        <a:p>
          <a:r>
            <a:rPr lang="nl-NL" sz="1200">
              <a:solidFill>
                <a:srgbClr val="1D5886"/>
              </a:solidFill>
              <a:latin typeface="Barlow" panose="00000500000000000000" pitchFamily="2" charset="0"/>
            </a:rPr>
            <a:t>Evaluatie</a:t>
          </a:r>
        </a:p>
        <a:p>
          <a:endParaRPr lang="nl-NL" sz="1200">
            <a:solidFill>
              <a:srgbClr val="1D5886"/>
            </a:solidFill>
            <a:latin typeface="Barlow" panose="00000500000000000000" pitchFamily="2" charset="0"/>
          </a:endParaRPr>
        </a:p>
      </dgm:t>
    </dgm:pt>
    <dgm:pt modelId="{F436D4A8-142E-481B-84C7-BDE877EDEAE8}" type="parTrans" cxnId="{3F477A95-3963-4CA5-A7E8-3FCCF2C90AF7}">
      <dgm:prSet/>
      <dgm:spPr/>
      <dgm:t>
        <a:bodyPr/>
        <a:lstStyle/>
        <a:p>
          <a:endParaRPr lang="nl-NL" sz="2000"/>
        </a:p>
      </dgm:t>
    </dgm:pt>
    <dgm:pt modelId="{9B2E83A9-A6A9-4965-B367-EC041B15D894}" type="sibTrans" cxnId="{3F477A95-3963-4CA5-A7E8-3FCCF2C90AF7}">
      <dgm:prSet/>
      <dgm:spPr/>
      <dgm:t>
        <a:bodyPr/>
        <a:lstStyle/>
        <a:p>
          <a:endParaRPr lang="nl-NL" sz="2000"/>
        </a:p>
      </dgm:t>
    </dgm:pt>
    <dgm:pt modelId="{41D37871-FE39-4829-9720-01E332B4AE02}">
      <dgm:prSet phldrT="[Tekst]" custT="1"/>
      <dgm:spPr>
        <a:solidFill>
          <a:srgbClr val="92D050"/>
        </a:solidFill>
        <a:ln>
          <a:solidFill>
            <a:srgbClr val="F2F3F4">
              <a:alpha val="90000"/>
            </a:srgbClr>
          </a:solidFill>
        </a:ln>
      </dgm:spPr>
      <dgm:t>
        <a:bodyPr/>
        <a:lstStyle/>
        <a:p>
          <a:r>
            <a:rPr lang="nl-NL" sz="1200" b="1">
              <a:solidFill>
                <a:srgbClr val="1D5886"/>
              </a:solidFill>
              <a:latin typeface="Barlow" panose="00000500000000000000" pitchFamily="2" charset="0"/>
            </a:rPr>
            <a:t>Oktober &amp; november ‘25</a:t>
          </a:r>
        </a:p>
        <a:p>
          <a:r>
            <a:rPr lang="nl-NL" sz="1200">
              <a:solidFill>
                <a:srgbClr val="1D5886"/>
              </a:solidFill>
              <a:latin typeface="Barlow" panose="00000500000000000000" pitchFamily="2" charset="0"/>
            </a:rPr>
            <a:t>Gebruikerstesten &amp; praktisch testen</a:t>
          </a:r>
        </a:p>
      </dgm:t>
    </dgm:pt>
    <dgm:pt modelId="{DBB5F492-B1BC-475E-9C41-FA9755DEE6BF}" type="parTrans" cxnId="{E554A0EF-9572-4D8A-BDC8-CB9E46A523CE}">
      <dgm:prSet/>
      <dgm:spPr/>
      <dgm:t>
        <a:bodyPr/>
        <a:lstStyle/>
        <a:p>
          <a:endParaRPr lang="nl-NL" sz="2000"/>
        </a:p>
      </dgm:t>
    </dgm:pt>
    <dgm:pt modelId="{12FD6653-6207-4023-8A1D-86942CC71E0D}" type="sibTrans" cxnId="{E554A0EF-9572-4D8A-BDC8-CB9E46A523CE}">
      <dgm:prSet/>
      <dgm:spPr/>
      <dgm:t>
        <a:bodyPr/>
        <a:lstStyle/>
        <a:p>
          <a:endParaRPr lang="nl-NL" sz="2000"/>
        </a:p>
      </dgm:t>
    </dgm:pt>
    <dgm:pt modelId="{1879852C-63B4-4C2E-956C-A1D17A1AFF4B}">
      <dgm:prSet custT="1"/>
      <dgm:spPr>
        <a:gradFill flip="none" rotWithShape="1">
          <a:gsLst>
            <a:gs pos="0">
              <a:schemeClr val="accent1">
                <a:lumMod val="5000"/>
                <a:lumOff val="95000"/>
              </a:schemeClr>
            </a:gs>
            <a:gs pos="0">
              <a:srgbClr val="92D050"/>
            </a:gs>
            <a:gs pos="100000">
              <a:srgbClr val="92D050"/>
            </a:gs>
            <a:gs pos="100000">
              <a:schemeClr val="accent1">
                <a:lumMod val="30000"/>
                <a:lumOff val="70000"/>
              </a:schemeClr>
            </a:gs>
          </a:gsLst>
          <a:lin ang="10800000" scaled="1"/>
          <a:tileRect/>
        </a:gradFill>
        <a:ln w="25400" cap="flat" cmpd="sng" algn="ctr">
          <a:solidFill>
            <a:srgbClr val="F2F3F4">
              <a:alpha val="90000"/>
            </a:srgbClr>
          </a:solidFill>
          <a:prstDash val="solid"/>
        </a:ln>
        <a:effectLst/>
      </dgm:spPr>
      <dgm:t>
        <a:bodyPr spcFirstLastPara="0" vert="horz" wrap="square" lIns="15240" tIns="7620" rIns="0" bIns="7620" numCol="1" spcCol="1270" anchor="ctr" anchorCtr="0"/>
        <a:lstStyle/>
        <a:p>
          <a:r>
            <a:rPr lang="nl-NL" sz="1200" b="1" kern="1200">
              <a:solidFill>
                <a:srgbClr val="1D5886"/>
              </a:solidFill>
              <a:latin typeface="Barlow" panose="00000500000000000000" pitchFamily="2" charset="0"/>
              <a:ea typeface="+mn-ea"/>
              <a:cs typeface="+mn-cs"/>
            </a:rPr>
            <a:t>September ‘25</a:t>
          </a:r>
        </a:p>
        <a:p>
          <a:r>
            <a:rPr lang="nl-NL" sz="1200" kern="1200">
              <a:solidFill>
                <a:srgbClr val="4F81BD"/>
              </a:solidFill>
              <a:latin typeface="Barlow" panose="00000500000000000000" pitchFamily="2" charset="0"/>
              <a:ea typeface="+mn-ea"/>
              <a:cs typeface="+mn-cs"/>
            </a:rPr>
            <a:t>Bouw dashboards</a:t>
          </a:r>
        </a:p>
        <a:p>
          <a:endParaRPr lang="nl-NL" sz="1200" b="1" kern="1200">
            <a:solidFill>
              <a:srgbClr val="1D5886"/>
            </a:solidFill>
            <a:latin typeface="Barlow" panose="00000500000000000000" pitchFamily="2" charset="0"/>
            <a:ea typeface="+mn-ea"/>
            <a:cs typeface="+mn-cs"/>
          </a:endParaRPr>
        </a:p>
      </dgm:t>
    </dgm:pt>
    <dgm:pt modelId="{5F1DC515-2371-4143-807F-DB6AE2F36092}" type="parTrans" cxnId="{F4D32FFB-4804-4379-9D21-17615CFFE3DD}">
      <dgm:prSet/>
      <dgm:spPr/>
      <dgm:t>
        <a:bodyPr/>
        <a:lstStyle/>
        <a:p>
          <a:endParaRPr lang="nl-NL"/>
        </a:p>
      </dgm:t>
    </dgm:pt>
    <dgm:pt modelId="{7592F8E9-187D-4C98-977E-D6088D831E42}" type="sibTrans" cxnId="{F4D32FFB-4804-4379-9D21-17615CFFE3DD}">
      <dgm:prSet/>
      <dgm:spPr/>
      <dgm:t>
        <a:bodyPr/>
        <a:lstStyle/>
        <a:p>
          <a:endParaRPr lang="nl-NL"/>
        </a:p>
      </dgm:t>
    </dgm:pt>
    <dgm:pt modelId="{E38422C2-10CC-4C90-86CA-694DA2329608}" type="pres">
      <dgm:prSet presAssocID="{1DCE899C-FE3F-4E67-9089-11F758D06333}" presName="Name0" presStyleCnt="0">
        <dgm:presLayoutVars>
          <dgm:chPref val="3"/>
          <dgm:dir/>
          <dgm:animLvl val="lvl"/>
          <dgm:resizeHandles/>
        </dgm:presLayoutVars>
      </dgm:prSet>
      <dgm:spPr/>
    </dgm:pt>
    <dgm:pt modelId="{CE38871B-99B7-4BC4-8AC6-35EBCD996794}" type="pres">
      <dgm:prSet presAssocID="{84803269-A90D-4E29-8996-0A7369FD460C}" presName="horFlow" presStyleCnt="0"/>
      <dgm:spPr/>
    </dgm:pt>
    <dgm:pt modelId="{B9D41FAD-5CD6-488F-8C4A-DAB3285C0DB8}" type="pres">
      <dgm:prSet presAssocID="{84803269-A90D-4E29-8996-0A7369FD460C}" presName="bigChev" presStyleLbl="node1" presStyleIdx="0" presStyleCnt="2"/>
      <dgm:spPr/>
    </dgm:pt>
    <dgm:pt modelId="{86C5B19B-96FA-4509-B6DC-C4B2351E91FF}" type="pres">
      <dgm:prSet presAssocID="{5F1DC515-2371-4143-807F-DB6AE2F36092}" presName="parTrans" presStyleCnt="0"/>
      <dgm:spPr/>
    </dgm:pt>
    <dgm:pt modelId="{579E3DD6-E4D3-4BEB-872F-1E8D25B9AE06}" type="pres">
      <dgm:prSet presAssocID="{1879852C-63B4-4C2E-956C-A1D17A1AFF4B}" presName="node" presStyleLbl="alignAccFollowNode1" presStyleIdx="0" presStyleCnt="7">
        <dgm:presLayoutVars>
          <dgm:bulletEnabled val="1"/>
        </dgm:presLayoutVars>
      </dgm:prSet>
      <dgm:spPr>
        <a:xfrm>
          <a:off x="2533018" y="817495"/>
          <a:ext cx="2415168" cy="966067"/>
        </a:xfrm>
        <a:prstGeom prst="chevron">
          <a:avLst/>
        </a:prstGeom>
      </dgm:spPr>
    </dgm:pt>
    <dgm:pt modelId="{48287983-7249-4C83-99CB-B224E174E2F6}" type="pres">
      <dgm:prSet presAssocID="{7592F8E9-187D-4C98-977E-D6088D831E42}" presName="sibTrans" presStyleCnt="0"/>
      <dgm:spPr/>
    </dgm:pt>
    <dgm:pt modelId="{45E48829-E0E4-4B54-BC88-D250D51F6A94}" type="pres">
      <dgm:prSet presAssocID="{41D37871-FE39-4829-9720-01E332B4AE02}" presName="node" presStyleLbl="alignAccFollowNode1" presStyleIdx="1" presStyleCnt="7">
        <dgm:presLayoutVars>
          <dgm:bulletEnabled val="1"/>
        </dgm:presLayoutVars>
      </dgm:prSet>
      <dgm:spPr/>
    </dgm:pt>
    <dgm:pt modelId="{B90677D5-5833-445E-9E1F-92A9EDC64614}" type="pres">
      <dgm:prSet presAssocID="{12FD6653-6207-4023-8A1D-86942CC71E0D}" presName="sibTrans" presStyleCnt="0"/>
      <dgm:spPr/>
    </dgm:pt>
    <dgm:pt modelId="{982FFE78-5D23-4197-8E41-0623DBF6B4A9}" type="pres">
      <dgm:prSet presAssocID="{187D61CE-A4C2-43D4-8433-F6DCB167E56F}" presName="node" presStyleLbl="alignAccFollowNode1" presStyleIdx="2" presStyleCnt="7" custLinFactNeighborX="5634">
        <dgm:presLayoutVars>
          <dgm:bulletEnabled val="1"/>
        </dgm:presLayoutVars>
      </dgm:prSet>
      <dgm:spPr/>
    </dgm:pt>
    <dgm:pt modelId="{A5AAE9D3-0520-492E-8969-98F250626D8F}" type="pres">
      <dgm:prSet presAssocID="{3C1AC14B-CEF8-4C6A-899F-9861725AA8C4}" presName="sibTrans" presStyleCnt="0"/>
      <dgm:spPr/>
    </dgm:pt>
    <dgm:pt modelId="{9C575971-9005-493A-B883-63B473D12D31}" type="pres">
      <dgm:prSet presAssocID="{5BB66C42-377A-4E3A-B677-0ED57D7C2A79}" presName="node" presStyleLbl="alignAccFollowNode1" presStyleIdx="3" presStyleCnt="7">
        <dgm:presLayoutVars>
          <dgm:bulletEnabled val="1"/>
        </dgm:presLayoutVars>
      </dgm:prSet>
      <dgm:spPr/>
    </dgm:pt>
    <dgm:pt modelId="{79286F4C-5396-4448-88B1-2E8C7D5E85CA}" type="pres">
      <dgm:prSet presAssocID="{84803269-A90D-4E29-8996-0A7369FD460C}" presName="vSp" presStyleCnt="0"/>
      <dgm:spPr/>
    </dgm:pt>
    <dgm:pt modelId="{5A94E12B-59FA-410B-B18F-AE16CB2736B7}" type="pres">
      <dgm:prSet presAssocID="{3943794A-77FF-4125-9E59-1D28ADFC850E}" presName="horFlow" presStyleCnt="0"/>
      <dgm:spPr/>
    </dgm:pt>
    <dgm:pt modelId="{68B1A2A4-F360-445C-BE1C-186BF9D68EA3}" type="pres">
      <dgm:prSet presAssocID="{3943794A-77FF-4125-9E59-1D28ADFC850E}" presName="bigChev" presStyleLbl="node1" presStyleIdx="1" presStyleCnt="2"/>
      <dgm:spPr/>
    </dgm:pt>
    <dgm:pt modelId="{7C23FEE4-AB50-4EBA-B7F9-41DF6B3511A9}" type="pres">
      <dgm:prSet presAssocID="{EDD83085-2034-49AE-A79D-D7FBE5AB2060}" presName="parTrans" presStyleCnt="0"/>
      <dgm:spPr/>
    </dgm:pt>
    <dgm:pt modelId="{369D2398-C386-43C9-B501-3A264B23824C}" type="pres">
      <dgm:prSet presAssocID="{2ADBE8F1-8597-45EE-8DED-ACD0CC0962A7}" presName="node" presStyleLbl="alignAccFollowNode1" presStyleIdx="4" presStyleCnt="7">
        <dgm:presLayoutVars>
          <dgm:bulletEnabled val="1"/>
        </dgm:presLayoutVars>
      </dgm:prSet>
      <dgm:spPr/>
    </dgm:pt>
    <dgm:pt modelId="{C824809D-0C0D-47A5-9A04-DB266FB225A2}" type="pres">
      <dgm:prSet presAssocID="{032E516A-8A35-4318-9787-CF19C9C985FB}" presName="sibTrans" presStyleCnt="0"/>
      <dgm:spPr/>
    </dgm:pt>
    <dgm:pt modelId="{5CCDF5DE-3F11-4741-92D3-7083AE6C6809}" type="pres">
      <dgm:prSet presAssocID="{B2B180D9-4DBA-4E8A-8492-BD013ACA38F7}" presName="node" presStyleLbl="alignAccFollowNode1" presStyleIdx="5" presStyleCnt="7">
        <dgm:presLayoutVars>
          <dgm:bulletEnabled val="1"/>
        </dgm:presLayoutVars>
      </dgm:prSet>
      <dgm:spPr/>
    </dgm:pt>
    <dgm:pt modelId="{D0347F32-BDEC-41C9-B813-F1185BF40477}" type="pres">
      <dgm:prSet presAssocID="{D72563D0-8441-4CC8-B2C3-407303411ADF}" presName="sibTrans" presStyleCnt="0"/>
      <dgm:spPr/>
    </dgm:pt>
    <dgm:pt modelId="{EF7002D7-87AE-4446-8A2C-AF693A96FF74}" type="pres">
      <dgm:prSet presAssocID="{1126776F-0E4D-4ED6-82E4-7F3A9AD71664}" presName="node" presStyleLbl="alignAccFollowNode1" presStyleIdx="6" presStyleCnt="7">
        <dgm:presLayoutVars>
          <dgm:bulletEnabled val="1"/>
        </dgm:presLayoutVars>
      </dgm:prSet>
      <dgm:spPr/>
    </dgm:pt>
  </dgm:ptLst>
  <dgm:cxnLst>
    <dgm:cxn modelId="{E4EEA101-4F4F-4253-BCE2-2A0F89A7E903}" type="presOf" srcId="{1126776F-0E4D-4ED6-82E4-7F3A9AD71664}" destId="{EF7002D7-87AE-4446-8A2C-AF693A96FF74}" srcOrd="0" destOrd="0" presId="urn:microsoft.com/office/officeart/2005/8/layout/lProcess3"/>
    <dgm:cxn modelId="{570BBC1D-A4C8-44C6-AE37-148848465E80}" type="presOf" srcId="{3943794A-77FF-4125-9E59-1D28ADFC850E}" destId="{68B1A2A4-F360-445C-BE1C-186BF9D68EA3}" srcOrd="0" destOrd="0" presId="urn:microsoft.com/office/officeart/2005/8/layout/lProcess3"/>
    <dgm:cxn modelId="{8C8A571F-DD50-4344-A134-0F6789A145C9}" type="presOf" srcId="{2ADBE8F1-8597-45EE-8DED-ACD0CC0962A7}" destId="{369D2398-C386-43C9-B501-3A264B23824C}" srcOrd="0" destOrd="0" presId="urn:microsoft.com/office/officeart/2005/8/layout/lProcess3"/>
    <dgm:cxn modelId="{55135326-D77F-406A-984F-9830BB55D857}" srcId="{3943794A-77FF-4125-9E59-1D28ADFC850E}" destId="{B2B180D9-4DBA-4E8A-8492-BD013ACA38F7}" srcOrd="1" destOrd="0" parTransId="{61337BD2-47FD-4F8C-AC0E-C10559D393A9}" sibTransId="{D72563D0-8441-4CC8-B2C3-407303411ADF}"/>
    <dgm:cxn modelId="{3275F460-A37F-4928-B5DE-50E0D83839FA}" srcId="{84803269-A90D-4E29-8996-0A7369FD460C}" destId="{5BB66C42-377A-4E3A-B677-0ED57D7C2A79}" srcOrd="3" destOrd="0" parTransId="{D9EF71C2-F8E7-4509-A76A-2078278ED19A}" sibTransId="{ADF92326-D79B-45C2-97DD-1835B3ED8980}"/>
    <dgm:cxn modelId="{68F7C54F-C75C-4124-A0C1-C823858FDAE7}" type="presOf" srcId="{1879852C-63B4-4C2E-956C-A1D17A1AFF4B}" destId="{579E3DD6-E4D3-4BEB-872F-1E8D25B9AE06}" srcOrd="0" destOrd="0" presId="urn:microsoft.com/office/officeart/2005/8/layout/lProcess3"/>
    <dgm:cxn modelId="{1FA55855-23E0-405D-808E-A2937BE9B2DA}" type="presOf" srcId="{84803269-A90D-4E29-8996-0A7369FD460C}" destId="{B9D41FAD-5CD6-488F-8C4A-DAB3285C0DB8}" srcOrd="0" destOrd="0" presId="urn:microsoft.com/office/officeart/2005/8/layout/lProcess3"/>
    <dgm:cxn modelId="{F8D8E388-FCE3-499B-8E02-A2E792A45DC9}" srcId="{84803269-A90D-4E29-8996-0A7369FD460C}" destId="{187D61CE-A4C2-43D4-8433-F6DCB167E56F}" srcOrd="2" destOrd="0" parTransId="{A30813D2-4F01-43CB-93B2-DA89C2EF9226}" sibTransId="{3C1AC14B-CEF8-4C6A-899F-9861725AA8C4}"/>
    <dgm:cxn modelId="{3F477A95-3963-4CA5-A7E8-3FCCF2C90AF7}" srcId="{3943794A-77FF-4125-9E59-1D28ADFC850E}" destId="{1126776F-0E4D-4ED6-82E4-7F3A9AD71664}" srcOrd="2" destOrd="0" parTransId="{F436D4A8-142E-481B-84C7-BDE877EDEAE8}" sibTransId="{9B2E83A9-A6A9-4965-B367-EC041B15D894}"/>
    <dgm:cxn modelId="{D6391496-C728-483C-B21E-875125B2A469}" type="presOf" srcId="{41D37871-FE39-4829-9720-01E332B4AE02}" destId="{45E48829-E0E4-4B54-BC88-D250D51F6A94}" srcOrd="0" destOrd="0" presId="urn:microsoft.com/office/officeart/2005/8/layout/lProcess3"/>
    <dgm:cxn modelId="{D12A54A5-07BF-4FBE-B166-455F3D73E724}" type="presOf" srcId="{5BB66C42-377A-4E3A-B677-0ED57D7C2A79}" destId="{9C575971-9005-493A-B883-63B473D12D31}" srcOrd="0" destOrd="0" presId="urn:microsoft.com/office/officeart/2005/8/layout/lProcess3"/>
    <dgm:cxn modelId="{408F10A8-1E72-4706-91E4-3310C29DF22C}" type="presOf" srcId="{1DCE899C-FE3F-4E67-9089-11F758D06333}" destId="{E38422C2-10CC-4C90-86CA-694DA2329608}" srcOrd="0" destOrd="0" presId="urn:microsoft.com/office/officeart/2005/8/layout/lProcess3"/>
    <dgm:cxn modelId="{0797D2C4-A8EC-42F5-8356-DFCF231F97FD}" type="presOf" srcId="{B2B180D9-4DBA-4E8A-8492-BD013ACA38F7}" destId="{5CCDF5DE-3F11-4741-92D3-7083AE6C6809}" srcOrd="0" destOrd="0" presId="urn:microsoft.com/office/officeart/2005/8/layout/lProcess3"/>
    <dgm:cxn modelId="{86465AD2-F6F9-4188-8ADA-A408FC614A7D}" srcId="{1DCE899C-FE3F-4E67-9089-11F758D06333}" destId="{84803269-A90D-4E29-8996-0A7369FD460C}" srcOrd="0" destOrd="0" parTransId="{F00A9C1F-4184-4D73-9CAF-0DAC1075774C}" sibTransId="{A2D5F427-90EF-421B-AC9D-3DC4F6501229}"/>
    <dgm:cxn modelId="{9004B5E7-A7C9-499F-92EB-750B9DD93C74}" type="presOf" srcId="{187D61CE-A4C2-43D4-8433-F6DCB167E56F}" destId="{982FFE78-5D23-4197-8E41-0623DBF6B4A9}" srcOrd="0" destOrd="0" presId="urn:microsoft.com/office/officeart/2005/8/layout/lProcess3"/>
    <dgm:cxn modelId="{ED4767EE-E31B-4D65-8910-AA8B26167CA4}" srcId="{1DCE899C-FE3F-4E67-9089-11F758D06333}" destId="{3943794A-77FF-4125-9E59-1D28ADFC850E}" srcOrd="1" destOrd="0" parTransId="{7518ACB9-D602-4FC8-BC2C-270415DEAACE}" sibTransId="{6A6E0E63-F9F5-47CF-8CD4-A54BE6D85A52}"/>
    <dgm:cxn modelId="{E554A0EF-9572-4D8A-BDC8-CB9E46A523CE}" srcId="{84803269-A90D-4E29-8996-0A7369FD460C}" destId="{41D37871-FE39-4829-9720-01E332B4AE02}" srcOrd="1" destOrd="0" parTransId="{DBB5F492-B1BC-475E-9C41-FA9755DEE6BF}" sibTransId="{12FD6653-6207-4023-8A1D-86942CC71E0D}"/>
    <dgm:cxn modelId="{F4D32FFB-4804-4379-9D21-17615CFFE3DD}" srcId="{84803269-A90D-4E29-8996-0A7369FD460C}" destId="{1879852C-63B4-4C2E-956C-A1D17A1AFF4B}" srcOrd="0" destOrd="0" parTransId="{5F1DC515-2371-4143-807F-DB6AE2F36092}" sibTransId="{7592F8E9-187D-4C98-977E-D6088D831E42}"/>
    <dgm:cxn modelId="{245C31FD-DDDC-446D-A8A6-F86BAC9F84A6}" srcId="{3943794A-77FF-4125-9E59-1D28ADFC850E}" destId="{2ADBE8F1-8597-45EE-8DED-ACD0CC0962A7}" srcOrd="0" destOrd="0" parTransId="{EDD83085-2034-49AE-A79D-D7FBE5AB2060}" sibTransId="{032E516A-8A35-4318-9787-CF19C9C985FB}"/>
    <dgm:cxn modelId="{0DF57DD8-E227-4028-8631-B67FDD8C6233}" type="presParOf" srcId="{E38422C2-10CC-4C90-86CA-694DA2329608}" destId="{CE38871B-99B7-4BC4-8AC6-35EBCD996794}" srcOrd="0" destOrd="0" presId="urn:microsoft.com/office/officeart/2005/8/layout/lProcess3"/>
    <dgm:cxn modelId="{2E5696FE-DB40-42B9-9835-8465B72A309F}" type="presParOf" srcId="{CE38871B-99B7-4BC4-8AC6-35EBCD996794}" destId="{B9D41FAD-5CD6-488F-8C4A-DAB3285C0DB8}" srcOrd="0" destOrd="0" presId="urn:microsoft.com/office/officeart/2005/8/layout/lProcess3"/>
    <dgm:cxn modelId="{D9D2491E-FBB1-4BD8-8F4A-11D57E0B75B5}" type="presParOf" srcId="{CE38871B-99B7-4BC4-8AC6-35EBCD996794}" destId="{86C5B19B-96FA-4509-B6DC-C4B2351E91FF}" srcOrd="1" destOrd="0" presId="urn:microsoft.com/office/officeart/2005/8/layout/lProcess3"/>
    <dgm:cxn modelId="{46A1D494-BBA3-4B1C-B8B6-9D82D060ACEE}" type="presParOf" srcId="{CE38871B-99B7-4BC4-8AC6-35EBCD996794}" destId="{579E3DD6-E4D3-4BEB-872F-1E8D25B9AE06}" srcOrd="2" destOrd="0" presId="urn:microsoft.com/office/officeart/2005/8/layout/lProcess3"/>
    <dgm:cxn modelId="{2A0CBC01-408C-411D-B97F-A753A19B73AD}" type="presParOf" srcId="{CE38871B-99B7-4BC4-8AC6-35EBCD996794}" destId="{48287983-7249-4C83-99CB-B224E174E2F6}" srcOrd="3" destOrd="0" presId="urn:microsoft.com/office/officeart/2005/8/layout/lProcess3"/>
    <dgm:cxn modelId="{334E3029-EA19-4586-9308-F5BB16A5C7F0}" type="presParOf" srcId="{CE38871B-99B7-4BC4-8AC6-35EBCD996794}" destId="{45E48829-E0E4-4B54-BC88-D250D51F6A94}" srcOrd="4" destOrd="0" presId="urn:microsoft.com/office/officeart/2005/8/layout/lProcess3"/>
    <dgm:cxn modelId="{88FCFB4F-43BC-458A-BE2A-DB1CCEDE9CA7}" type="presParOf" srcId="{CE38871B-99B7-4BC4-8AC6-35EBCD996794}" destId="{B90677D5-5833-445E-9E1F-92A9EDC64614}" srcOrd="5" destOrd="0" presId="urn:microsoft.com/office/officeart/2005/8/layout/lProcess3"/>
    <dgm:cxn modelId="{35BBC89E-4949-4FA4-A25A-7A2BC9E1B528}" type="presParOf" srcId="{CE38871B-99B7-4BC4-8AC6-35EBCD996794}" destId="{982FFE78-5D23-4197-8E41-0623DBF6B4A9}" srcOrd="6" destOrd="0" presId="urn:microsoft.com/office/officeart/2005/8/layout/lProcess3"/>
    <dgm:cxn modelId="{619D7454-3443-436F-B284-D3E0A274898C}" type="presParOf" srcId="{CE38871B-99B7-4BC4-8AC6-35EBCD996794}" destId="{A5AAE9D3-0520-492E-8969-98F250626D8F}" srcOrd="7" destOrd="0" presId="urn:microsoft.com/office/officeart/2005/8/layout/lProcess3"/>
    <dgm:cxn modelId="{3BB92C8E-7DA2-4118-BCB2-F564ECB92898}" type="presParOf" srcId="{CE38871B-99B7-4BC4-8AC6-35EBCD996794}" destId="{9C575971-9005-493A-B883-63B473D12D31}" srcOrd="8" destOrd="0" presId="urn:microsoft.com/office/officeart/2005/8/layout/lProcess3"/>
    <dgm:cxn modelId="{5B280543-9A8B-4549-A02B-0B240B76C0B6}" type="presParOf" srcId="{E38422C2-10CC-4C90-86CA-694DA2329608}" destId="{79286F4C-5396-4448-88B1-2E8C7D5E85CA}" srcOrd="1" destOrd="0" presId="urn:microsoft.com/office/officeart/2005/8/layout/lProcess3"/>
    <dgm:cxn modelId="{1E4D9B9A-D58A-4D50-99B6-CC2475F993A3}" type="presParOf" srcId="{E38422C2-10CC-4C90-86CA-694DA2329608}" destId="{5A94E12B-59FA-410B-B18F-AE16CB2736B7}" srcOrd="2" destOrd="0" presId="urn:microsoft.com/office/officeart/2005/8/layout/lProcess3"/>
    <dgm:cxn modelId="{3A90BA5D-648A-44C1-A969-57BBA1FB0F1D}" type="presParOf" srcId="{5A94E12B-59FA-410B-B18F-AE16CB2736B7}" destId="{68B1A2A4-F360-445C-BE1C-186BF9D68EA3}" srcOrd="0" destOrd="0" presId="urn:microsoft.com/office/officeart/2005/8/layout/lProcess3"/>
    <dgm:cxn modelId="{13AB303D-7ECD-4CAA-B0E9-AB73B1B85957}" type="presParOf" srcId="{5A94E12B-59FA-410B-B18F-AE16CB2736B7}" destId="{7C23FEE4-AB50-4EBA-B7F9-41DF6B3511A9}" srcOrd="1" destOrd="0" presId="urn:microsoft.com/office/officeart/2005/8/layout/lProcess3"/>
    <dgm:cxn modelId="{F69709E5-03A5-4FB0-9243-F9963C42A1BF}" type="presParOf" srcId="{5A94E12B-59FA-410B-B18F-AE16CB2736B7}" destId="{369D2398-C386-43C9-B501-3A264B23824C}" srcOrd="2" destOrd="0" presId="urn:microsoft.com/office/officeart/2005/8/layout/lProcess3"/>
    <dgm:cxn modelId="{7761D6F5-94BA-40F2-AC30-2144E3D3A78E}" type="presParOf" srcId="{5A94E12B-59FA-410B-B18F-AE16CB2736B7}" destId="{C824809D-0C0D-47A5-9A04-DB266FB225A2}" srcOrd="3" destOrd="0" presId="urn:microsoft.com/office/officeart/2005/8/layout/lProcess3"/>
    <dgm:cxn modelId="{68EDB728-93F5-481B-8EF5-F1180A4867BA}" type="presParOf" srcId="{5A94E12B-59FA-410B-B18F-AE16CB2736B7}" destId="{5CCDF5DE-3F11-4741-92D3-7083AE6C6809}" srcOrd="4" destOrd="0" presId="urn:microsoft.com/office/officeart/2005/8/layout/lProcess3"/>
    <dgm:cxn modelId="{56DEEC8A-241F-45B8-8790-40B29CB41AA6}" type="presParOf" srcId="{5A94E12B-59FA-410B-B18F-AE16CB2736B7}" destId="{D0347F32-BDEC-41C9-B813-F1185BF40477}" srcOrd="5" destOrd="0" presId="urn:microsoft.com/office/officeart/2005/8/layout/lProcess3"/>
    <dgm:cxn modelId="{88233822-689B-428C-9256-E3577C0F0CD7}" type="presParOf" srcId="{5A94E12B-59FA-410B-B18F-AE16CB2736B7}" destId="{EF7002D7-87AE-4446-8A2C-AF693A96FF74}" srcOrd="6" destOrd="0" presId="urn:microsoft.com/office/officeart/2005/8/layout/l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9D41FAD-5CD6-488F-8C4A-DAB3285C0DB8}">
      <dsp:nvSpPr>
        <dsp:cNvPr id="0" name=""/>
        <dsp:cNvSpPr/>
      </dsp:nvSpPr>
      <dsp:spPr>
        <a:xfrm>
          <a:off x="1457" y="718560"/>
          <a:ext cx="2909841" cy="1163936"/>
        </a:xfrm>
        <a:prstGeom prst="chevron">
          <a:avLst/>
        </a:prstGeom>
        <a:solidFill>
          <a:srgbClr val="1D5886"/>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7620" rIns="0" bIns="7620" numCol="1" spcCol="1270" anchor="ctr" anchorCtr="0">
          <a:noAutofit/>
        </a:bodyPr>
        <a:lstStyle/>
        <a:p>
          <a:pPr marL="0" lvl="0" indent="0" algn="ctr" defTabSz="533400">
            <a:lnSpc>
              <a:spcPct val="90000"/>
            </a:lnSpc>
            <a:spcBef>
              <a:spcPct val="0"/>
            </a:spcBef>
            <a:spcAft>
              <a:spcPct val="35000"/>
            </a:spcAft>
            <a:buNone/>
          </a:pPr>
          <a:r>
            <a:rPr lang="nl-NL" sz="1200" b="1" kern="1200">
              <a:latin typeface="Barlow" panose="00000500000000000000" pitchFamily="2" charset="0"/>
            </a:rPr>
            <a:t>Kindergeneeskunde en neonatologie dashboard LPZ</a:t>
          </a:r>
        </a:p>
      </dsp:txBody>
      <dsp:txXfrm>
        <a:off x="583425" y="718560"/>
        <a:ext cx="1745905" cy="1163936"/>
      </dsp:txXfrm>
    </dsp:sp>
    <dsp:sp modelId="{579E3DD6-E4D3-4BEB-872F-1E8D25B9AE06}">
      <dsp:nvSpPr>
        <dsp:cNvPr id="0" name=""/>
        <dsp:cNvSpPr/>
      </dsp:nvSpPr>
      <dsp:spPr>
        <a:xfrm>
          <a:off x="2533018" y="817495"/>
          <a:ext cx="2415168" cy="966067"/>
        </a:xfrm>
        <a:prstGeom prst="chevron">
          <a:avLst/>
        </a:prstGeom>
        <a:gradFill flip="none" rotWithShape="1">
          <a:gsLst>
            <a:gs pos="0">
              <a:schemeClr val="accent1">
                <a:lumMod val="5000"/>
                <a:lumOff val="95000"/>
              </a:schemeClr>
            </a:gs>
            <a:gs pos="0">
              <a:srgbClr val="92D050"/>
            </a:gs>
            <a:gs pos="100000">
              <a:srgbClr val="92D050"/>
            </a:gs>
            <a:gs pos="100000">
              <a:schemeClr val="accent1">
                <a:lumMod val="30000"/>
                <a:lumOff val="70000"/>
              </a:schemeClr>
            </a:gs>
          </a:gsLst>
          <a:lin ang="10800000" scaled="1"/>
          <a:tileRect/>
        </a:gradFill>
        <a:ln w="25400" cap="flat" cmpd="sng" algn="ctr">
          <a:solidFill>
            <a:srgbClr val="F2F3F4">
              <a:alpha val="9000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7620" rIns="0" bIns="7620" numCol="1" spcCol="1270" anchor="ctr" anchorCtr="0">
          <a:noAutofit/>
        </a:bodyPr>
        <a:lstStyle/>
        <a:p>
          <a:pPr marL="0" lvl="0" indent="0" algn="ctr" defTabSz="533400">
            <a:lnSpc>
              <a:spcPct val="90000"/>
            </a:lnSpc>
            <a:spcBef>
              <a:spcPct val="0"/>
            </a:spcBef>
            <a:spcAft>
              <a:spcPct val="35000"/>
            </a:spcAft>
            <a:buNone/>
          </a:pPr>
          <a:r>
            <a:rPr lang="nl-NL" sz="1200" b="1" kern="1200">
              <a:solidFill>
                <a:srgbClr val="1D5886"/>
              </a:solidFill>
              <a:latin typeface="Barlow" panose="00000500000000000000" pitchFamily="2" charset="0"/>
              <a:ea typeface="+mn-ea"/>
              <a:cs typeface="+mn-cs"/>
            </a:rPr>
            <a:t>September ‘25</a:t>
          </a:r>
        </a:p>
        <a:p>
          <a:pPr marL="0" lvl="0" indent="0" algn="ctr" defTabSz="533400">
            <a:lnSpc>
              <a:spcPct val="90000"/>
            </a:lnSpc>
            <a:spcBef>
              <a:spcPct val="0"/>
            </a:spcBef>
            <a:spcAft>
              <a:spcPct val="35000"/>
            </a:spcAft>
            <a:buNone/>
          </a:pPr>
          <a:r>
            <a:rPr lang="nl-NL" sz="1200" kern="1200">
              <a:solidFill>
                <a:srgbClr val="4F81BD"/>
              </a:solidFill>
              <a:latin typeface="Barlow" panose="00000500000000000000" pitchFamily="2" charset="0"/>
              <a:ea typeface="+mn-ea"/>
              <a:cs typeface="+mn-cs"/>
            </a:rPr>
            <a:t>Bouw dashboards</a:t>
          </a:r>
        </a:p>
        <a:p>
          <a:pPr marL="0" lvl="0" indent="0" algn="ctr" defTabSz="533400">
            <a:lnSpc>
              <a:spcPct val="90000"/>
            </a:lnSpc>
            <a:spcBef>
              <a:spcPct val="0"/>
            </a:spcBef>
            <a:spcAft>
              <a:spcPct val="35000"/>
            </a:spcAft>
            <a:buNone/>
          </a:pPr>
          <a:endParaRPr lang="nl-NL" sz="1200" b="1" kern="1200">
            <a:solidFill>
              <a:srgbClr val="1D5886"/>
            </a:solidFill>
            <a:latin typeface="Barlow" panose="00000500000000000000" pitchFamily="2" charset="0"/>
            <a:ea typeface="+mn-ea"/>
            <a:cs typeface="+mn-cs"/>
          </a:endParaRPr>
        </a:p>
      </dsp:txBody>
      <dsp:txXfrm>
        <a:off x="3016052" y="817495"/>
        <a:ext cx="1449101" cy="966067"/>
      </dsp:txXfrm>
    </dsp:sp>
    <dsp:sp modelId="{45E48829-E0E4-4B54-BC88-D250D51F6A94}">
      <dsp:nvSpPr>
        <dsp:cNvPr id="0" name=""/>
        <dsp:cNvSpPr/>
      </dsp:nvSpPr>
      <dsp:spPr>
        <a:xfrm>
          <a:off x="4610063" y="817495"/>
          <a:ext cx="2415168" cy="966067"/>
        </a:xfrm>
        <a:prstGeom prst="chevron">
          <a:avLst/>
        </a:prstGeom>
        <a:solidFill>
          <a:srgbClr val="92D050"/>
        </a:solidFill>
        <a:ln w="34925" cap="flat" cmpd="sng" algn="in">
          <a:solidFill>
            <a:srgbClr val="F2F3F4">
              <a:alpha val="9000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7620" rIns="0" bIns="7620" numCol="1" spcCol="1270" anchor="ctr" anchorCtr="0">
          <a:noAutofit/>
        </a:bodyPr>
        <a:lstStyle/>
        <a:p>
          <a:pPr marL="0" lvl="0" indent="0" algn="ctr" defTabSz="533400">
            <a:lnSpc>
              <a:spcPct val="90000"/>
            </a:lnSpc>
            <a:spcBef>
              <a:spcPct val="0"/>
            </a:spcBef>
            <a:spcAft>
              <a:spcPct val="35000"/>
            </a:spcAft>
            <a:buNone/>
          </a:pPr>
          <a:r>
            <a:rPr lang="nl-NL" sz="1200" b="1" kern="1200">
              <a:solidFill>
                <a:srgbClr val="1D5886"/>
              </a:solidFill>
              <a:latin typeface="Barlow" panose="00000500000000000000" pitchFamily="2" charset="0"/>
            </a:rPr>
            <a:t>Oktober &amp; november ‘25</a:t>
          </a:r>
        </a:p>
        <a:p>
          <a:pPr marL="0" lvl="0" indent="0" algn="ctr" defTabSz="533400">
            <a:lnSpc>
              <a:spcPct val="90000"/>
            </a:lnSpc>
            <a:spcBef>
              <a:spcPct val="0"/>
            </a:spcBef>
            <a:spcAft>
              <a:spcPct val="35000"/>
            </a:spcAft>
            <a:buNone/>
          </a:pPr>
          <a:r>
            <a:rPr lang="nl-NL" sz="1200" kern="1200">
              <a:solidFill>
                <a:srgbClr val="1D5886"/>
              </a:solidFill>
              <a:latin typeface="Barlow" panose="00000500000000000000" pitchFamily="2" charset="0"/>
            </a:rPr>
            <a:t>Gebruikerstesten &amp; praktisch testen</a:t>
          </a:r>
        </a:p>
      </dsp:txBody>
      <dsp:txXfrm>
        <a:off x="5093097" y="817495"/>
        <a:ext cx="1449101" cy="966067"/>
      </dsp:txXfrm>
    </dsp:sp>
    <dsp:sp modelId="{982FFE78-5D23-4197-8E41-0623DBF6B4A9}">
      <dsp:nvSpPr>
        <dsp:cNvPr id="0" name=""/>
        <dsp:cNvSpPr/>
      </dsp:nvSpPr>
      <dsp:spPr>
        <a:xfrm>
          <a:off x="6706158" y="817495"/>
          <a:ext cx="2415168" cy="966067"/>
        </a:xfrm>
        <a:prstGeom prst="chevron">
          <a:avLst/>
        </a:prstGeom>
        <a:solidFill>
          <a:srgbClr val="92D050"/>
        </a:solidFill>
        <a:ln w="34925" cap="flat" cmpd="sng" algn="in">
          <a:solidFill>
            <a:srgbClr val="F2F3F4">
              <a:alpha val="9000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7620" rIns="0" bIns="7620" numCol="1" spcCol="1270" anchor="ctr" anchorCtr="0">
          <a:noAutofit/>
        </a:bodyPr>
        <a:lstStyle/>
        <a:p>
          <a:pPr marL="0" lvl="0" indent="0" algn="ctr" defTabSz="533400">
            <a:lnSpc>
              <a:spcPct val="90000"/>
            </a:lnSpc>
            <a:spcBef>
              <a:spcPct val="0"/>
            </a:spcBef>
            <a:spcAft>
              <a:spcPct val="35000"/>
            </a:spcAft>
            <a:buNone/>
          </a:pPr>
          <a:endParaRPr lang="nl-NL" sz="1200" b="1" kern="1200">
            <a:solidFill>
              <a:srgbClr val="1D5886"/>
            </a:solidFill>
            <a:latin typeface="Barlow" panose="00000500000000000000" pitchFamily="2" charset="0"/>
          </a:endParaRPr>
        </a:p>
        <a:p>
          <a:pPr marL="0" lvl="0" indent="0" algn="ctr" defTabSz="533400">
            <a:lnSpc>
              <a:spcPct val="90000"/>
            </a:lnSpc>
            <a:spcBef>
              <a:spcPct val="0"/>
            </a:spcBef>
            <a:spcAft>
              <a:spcPct val="35000"/>
            </a:spcAft>
            <a:buNone/>
          </a:pPr>
          <a:r>
            <a:rPr lang="nl-NL" sz="1200" b="1" kern="1200">
              <a:solidFill>
                <a:srgbClr val="1D5886"/>
              </a:solidFill>
              <a:latin typeface="Barlow" panose="00000500000000000000" pitchFamily="2" charset="0"/>
            </a:rPr>
            <a:t>December ’25</a:t>
          </a:r>
        </a:p>
        <a:p>
          <a:pPr marL="0" lvl="0" indent="0" algn="ctr" defTabSz="533400">
            <a:lnSpc>
              <a:spcPct val="90000"/>
            </a:lnSpc>
            <a:spcBef>
              <a:spcPct val="0"/>
            </a:spcBef>
            <a:spcAft>
              <a:spcPct val="35000"/>
            </a:spcAft>
            <a:buNone/>
          </a:pPr>
          <a:r>
            <a:rPr lang="nl-NL" sz="1200" kern="1200">
              <a:solidFill>
                <a:srgbClr val="1D5886"/>
              </a:solidFill>
              <a:latin typeface="Barlow" panose="00000500000000000000" pitchFamily="2" charset="0"/>
            </a:rPr>
            <a:t>Doorvoeren feedback</a:t>
          </a:r>
        </a:p>
        <a:p>
          <a:pPr marL="0" lvl="0" indent="0" algn="ctr" defTabSz="533400">
            <a:lnSpc>
              <a:spcPct val="90000"/>
            </a:lnSpc>
            <a:spcBef>
              <a:spcPct val="0"/>
            </a:spcBef>
            <a:spcAft>
              <a:spcPct val="35000"/>
            </a:spcAft>
            <a:buNone/>
          </a:pPr>
          <a:r>
            <a:rPr lang="nl-NL" sz="1200" kern="1200">
              <a:solidFill>
                <a:srgbClr val="1D5886"/>
              </a:solidFill>
              <a:latin typeface="Barlow" panose="00000500000000000000" pitchFamily="2" charset="0"/>
            </a:rPr>
            <a:t>2</a:t>
          </a:r>
          <a:r>
            <a:rPr lang="nl-NL" sz="1200" kern="1200" baseline="30000">
              <a:solidFill>
                <a:srgbClr val="1D5886"/>
              </a:solidFill>
              <a:latin typeface="Barlow" panose="00000500000000000000" pitchFamily="2" charset="0"/>
            </a:rPr>
            <a:t>e</a:t>
          </a:r>
          <a:r>
            <a:rPr lang="nl-NL" sz="1200" kern="1200">
              <a:solidFill>
                <a:srgbClr val="1D5886"/>
              </a:solidFill>
              <a:latin typeface="Barlow" panose="00000500000000000000" pitchFamily="2" charset="0"/>
            </a:rPr>
            <a:t> Klankbordgroep bijeenkomst</a:t>
          </a:r>
        </a:p>
        <a:p>
          <a:pPr marL="0" lvl="0" indent="0" algn="ctr" defTabSz="533400">
            <a:lnSpc>
              <a:spcPct val="90000"/>
            </a:lnSpc>
            <a:spcBef>
              <a:spcPct val="0"/>
            </a:spcBef>
            <a:spcAft>
              <a:spcPct val="35000"/>
            </a:spcAft>
            <a:buNone/>
          </a:pPr>
          <a:endParaRPr lang="nl-NL" sz="1200" kern="1200">
            <a:solidFill>
              <a:srgbClr val="1D5886"/>
            </a:solidFill>
            <a:latin typeface="Barlow" panose="00000500000000000000" pitchFamily="2" charset="0"/>
          </a:endParaRPr>
        </a:p>
      </dsp:txBody>
      <dsp:txXfrm>
        <a:off x="7189192" y="817495"/>
        <a:ext cx="1449101" cy="966067"/>
      </dsp:txXfrm>
    </dsp:sp>
    <dsp:sp modelId="{9C575971-9005-493A-B883-63B473D12D31}">
      <dsp:nvSpPr>
        <dsp:cNvPr id="0" name=""/>
        <dsp:cNvSpPr/>
      </dsp:nvSpPr>
      <dsp:spPr>
        <a:xfrm>
          <a:off x="8764152" y="817495"/>
          <a:ext cx="2415168" cy="966067"/>
        </a:xfrm>
        <a:prstGeom prst="chevron">
          <a:avLst/>
        </a:prstGeom>
        <a:solidFill>
          <a:srgbClr val="92D050">
            <a:alpha val="90000"/>
          </a:srgbClr>
        </a:solidFill>
        <a:ln w="34925" cap="flat" cmpd="sng" algn="in">
          <a:solidFill>
            <a:srgbClr val="F2F3F4">
              <a:alpha val="9000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7620" rIns="0" bIns="7620" numCol="1" spcCol="1270" anchor="ctr" anchorCtr="0">
          <a:noAutofit/>
        </a:bodyPr>
        <a:lstStyle/>
        <a:p>
          <a:pPr marL="0" lvl="0" indent="0" algn="ctr" defTabSz="533400">
            <a:lnSpc>
              <a:spcPct val="90000"/>
            </a:lnSpc>
            <a:spcBef>
              <a:spcPct val="0"/>
            </a:spcBef>
            <a:spcAft>
              <a:spcPct val="35000"/>
            </a:spcAft>
            <a:buNone/>
          </a:pPr>
          <a:r>
            <a:rPr lang="nl-NL" sz="1200" kern="1200">
              <a:solidFill>
                <a:srgbClr val="1D5886"/>
              </a:solidFill>
              <a:latin typeface="Barlow" panose="00000500000000000000" pitchFamily="2" charset="0"/>
            </a:rPr>
            <a:t>Oplevering</a:t>
          </a:r>
          <a:r>
            <a:rPr lang="nl-NL" sz="1200" b="1" kern="1200">
              <a:solidFill>
                <a:srgbClr val="1D5886"/>
              </a:solidFill>
              <a:latin typeface="Barlow" panose="00000500000000000000" pitchFamily="2" charset="0"/>
            </a:rPr>
            <a:t> 6 januari 2026</a:t>
          </a:r>
        </a:p>
      </dsp:txBody>
      <dsp:txXfrm>
        <a:off x="9247186" y="817495"/>
        <a:ext cx="1449101" cy="966067"/>
      </dsp:txXfrm>
    </dsp:sp>
    <dsp:sp modelId="{68B1A2A4-F360-445C-BE1C-186BF9D68EA3}">
      <dsp:nvSpPr>
        <dsp:cNvPr id="0" name=""/>
        <dsp:cNvSpPr/>
      </dsp:nvSpPr>
      <dsp:spPr>
        <a:xfrm>
          <a:off x="1457" y="2045448"/>
          <a:ext cx="2909841" cy="1163936"/>
        </a:xfrm>
        <a:prstGeom prst="chevron">
          <a:avLst/>
        </a:prstGeom>
        <a:solidFill>
          <a:srgbClr val="1D5886"/>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7620" rIns="0" bIns="7620" numCol="1" spcCol="1270" anchor="ctr" anchorCtr="0">
          <a:noAutofit/>
        </a:bodyPr>
        <a:lstStyle/>
        <a:p>
          <a:pPr marL="0" lvl="0" indent="0" algn="ctr" defTabSz="533400">
            <a:lnSpc>
              <a:spcPct val="90000"/>
            </a:lnSpc>
            <a:spcBef>
              <a:spcPct val="0"/>
            </a:spcBef>
            <a:spcAft>
              <a:spcPct val="35000"/>
            </a:spcAft>
            <a:buNone/>
          </a:pPr>
          <a:r>
            <a:rPr lang="nl-NL" sz="1200" b="1" kern="1200">
              <a:latin typeface="Barlow" panose="00000500000000000000" pitchFamily="2" charset="0"/>
            </a:rPr>
            <a:t>Kindergeneeskunde en neonatologie dashboard LPZ</a:t>
          </a:r>
        </a:p>
      </dsp:txBody>
      <dsp:txXfrm>
        <a:off x="583425" y="2045448"/>
        <a:ext cx="1745905" cy="1163936"/>
      </dsp:txXfrm>
    </dsp:sp>
    <dsp:sp modelId="{369D2398-C386-43C9-B501-3A264B23824C}">
      <dsp:nvSpPr>
        <dsp:cNvPr id="0" name=""/>
        <dsp:cNvSpPr/>
      </dsp:nvSpPr>
      <dsp:spPr>
        <a:xfrm>
          <a:off x="2533018" y="2144382"/>
          <a:ext cx="2415168" cy="966067"/>
        </a:xfrm>
        <a:prstGeom prst="chevron">
          <a:avLst/>
        </a:prstGeom>
        <a:solidFill>
          <a:srgbClr val="F2F3F4">
            <a:alpha val="90000"/>
          </a:srgbClr>
        </a:solidFill>
        <a:ln w="34925" cap="flat" cmpd="sng" algn="in">
          <a:solidFill>
            <a:srgbClr val="F2F3F4">
              <a:alpha val="9000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7620" rIns="0" bIns="7620" numCol="1" spcCol="1270" anchor="ctr" anchorCtr="0">
          <a:noAutofit/>
        </a:bodyPr>
        <a:lstStyle/>
        <a:p>
          <a:pPr marL="0" lvl="0" indent="0" algn="ctr" defTabSz="533400">
            <a:lnSpc>
              <a:spcPct val="90000"/>
            </a:lnSpc>
            <a:spcBef>
              <a:spcPct val="0"/>
            </a:spcBef>
            <a:spcAft>
              <a:spcPct val="35000"/>
            </a:spcAft>
            <a:buNone/>
          </a:pPr>
          <a:r>
            <a:rPr lang="nl-NL" sz="1200" b="1" kern="1200">
              <a:solidFill>
                <a:srgbClr val="1D5886"/>
              </a:solidFill>
              <a:latin typeface="Barlow" panose="00000500000000000000" pitchFamily="2" charset="0"/>
            </a:rPr>
            <a:t>Januari-maart ’26</a:t>
          </a:r>
        </a:p>
        <a:p>
          <a:pPr marL="0" lvl="0" indent="0" algn="ctr" defTabSz="533400">
            <a:lnSpc>
              <a:spcPct val="90000"/>
            </a:lnSpc>
            <a:spcBef>
              <a:spcPct val="0"/>
            </a:spcBef>
            <a:spcAft>
              <a:spcPct val="35000"/>
            </a:spcAft>
            <a:buNone/>
          </a:pPr>
          <a:r>
            <a:rPr lang="nl-NL" sz="1200" b="0" kern="1200">
              <a:solidFill>
                <a:srgbClr val="1D5886"/>
              </a:solidFill>
              <a:latin typeface="Barlow" panose="00000500000000000000" pitchFamily="2" charset="0"/>
            </a:rPr>
            <a:t>Implementatie</a:t>
          </a:r>
        </a:p>
        <a:p>
          <a:pPr marL="0" lvl="0" indent="0" algn="ctr" defTabSz="533400">
            <a:lnSpc>
              <a:spcPct val="90000"/>
            </a:lnSpc>
            <a:spcBef>
              <a:spcPct val="0"/>
            </a:spcBef>
            <a:spcAft>
              <a:spcPct val="35000"/>
            </a:spcAft>
            <a:buNone/>
          </a:pPr>
          <a:endParaRPr lang="nl-NL" sz="1200" b="0" kern="1200">
            <a:solidFill>
              <a:srgbClr val="1D5886"/>
            </a:solidFill>
            <a:latin typeface="Barlow" panose="00000500000000000000" pitchFamily="2" charset="0"/>
          </a:endParaRPr>
        </a:p>
      </dsp:txBody>
      <dsp:txXfrm>
        <a:off x="3016052" y="2144382"/>
        <a:ext cx="1449101" cy="966067"/>
      </dsp:txXfrm>
    </dsp:sp>
    <dsp:sp modelId="{5CCDF5DE-3F11-4741-92D3-7083AE6C6809}">
      <dsp:nvSpPr>
        <dsp:cNvPr id="0" name=""/>
        <dsp:cNvSpPr/>
      </dsp:nvSpPr>
      <dsp:spPr>
        <a:xfrm>
          <a:off x="4610063" y="2144382"/>
          <a:ext cx="2415168" cy="966067"/>
        </a:xfrm>
        <a:prstGeom prst="chevron">
          <a:avLst/>
        </a:prstGeom>
        <a:solidFill>
          <a:srgbClr val="F2F3F4">
            <a:alpha val="90000"/>
          </a:srgbClr>
        </a:solidFill>
        <a:ln w="34925" cap="flat" cmpd="sng" algn="in">
          <a:solidFill>
            <a:srgbClr val="F2F3F4">
              <a:alpha val="9000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7620" rIns="0" bIns="7620" numCol="1" spcCol="1270" anchor="ctr" anchorCtr="0">
          <a:noAutofit/>
        </a:bodyPr>
        <a:lstStyle/>
        <a:p>
          <a:pPr marL="0" lvl="0" algn="ctr" defTabSz="533400">
            <a:lnSpc>
              <a:spcPct val="90000"/>
            </a:lnSpc>
            <a:spcBef>
              <a:spcPct val="0"/>
            </a:spcBef>
            <a:spcAft>
              <a:spcPct val="35000"/>
            </a:spcAft>
            <a:buNone/>
          </a:pPr>
          <a:r>
            <a:rPr lang="nl-NL" sz="1200" b="1" kern="1200">
              <a:solidFill>
                <a:srgbClr val="1D5886"/>
              </a:solidFill>
              <a:latin typeface="Barlow" panose="00000500000000000000" pitchFamily="2" charset="0"/>
              <a:ea typeface="+mn-ea"/>
              <a:cs typeface="+mn-cs"/>
            </a:rPr>
            <a:t>8 april ’26</a:t>
          </a:r>
        </a:p>
        <a:p>
          <a:pPr marL="0" lvl="0" indent="0" algn="ctr" defTabSz="533400">
            <a:lnSpc>
              <a:spcPct val="90000"/>
            </a:lnSpc>
            <a:spcBef>
              <a:spcPct val="0"/>
            </a:spcBef>
            <a:spcAft>
              <a:spcPct val="35000"/>
            </a:spcAft>
            <a:buNone/>
          </a:pPr>
          <a:r>
            <a:rPr lang="nl-NL" sz="1200" b="0" kern="1200">
              <a:solidFill>
                <a:srgbClr val="1D5886"/>
              </a:solidFill>
              <a:latin typeface="Barlow" panose="00000500000000000000" pitchFamily="2" charset="0"/>
              <a:ea typeface="+mn-ea"/>
              <a:cs typeface="+mn-cs"/>
            </a:rPr>
            <a:t>Officiële livegang LPZ en uitfasering </a:t>
          </a:r>
          <a:r>
            <a:rPr lang="nl-NL" sz="1200" b="1" i="1" kern="1200" err="1">
              <a:solidFill>
                <a:srgbClr val="0070C0"/>
              </a:solidFill>
              <a:latin typeface="Barlow" pitchFamily="2" charset="77"/>
            </a:rPr>
            <a:t>kindzoektbed</a:t>
          </a:r>
          <a:r>
            <a:rPr lang="nl-NL" sz="1200" b="0" kern="1200">
              <a:solidFill>
                <a:srgbClr val="1D5886"/>
              </a:solidFill>
              <a:latin typeface="Barlow" panose="00000500000000000000" pitchFamily="2" charset="0"/>
              <a:ea typeface="+mn-ea"/>
              <a:cs typeface="+mn-cs"/>
            </a:rPr>
            <a:t>*</a:t>
          </a:r>
        </a:p>
      </dsp:txBody>
      <dsp:txXfrm>
        <a:off x="5093097" y="2144382"/>
        <a:ext cx="1449101" cy="966067"/>
      </dsp:txXfrm>
    </dsp:sp>
    <dsp:sp modelId="{EF7002D7-87AE-4446-8A2C-AF693A96FF74}">
      <dsp:nvSpPr>
        <dsp:cNvPr id="0" name=""/>
        <dsp:cNvSpPr/>
      </dsp:nvSpPr>
      <dsp:spPr>
        <a:xfrm>
          <a:off x="6687108" y="2144382"/>
          <a:ext cx="2415168" cy="966067"/>
        </a:xfrm>
        <a:prstGeom prst="chevron">
          <a:avLst/>
        </a:prstGeom>
        <a:solidFill>
          <a:srgbClr val="F2F3F4">
            <a:alpha val="90000"/>
          </a:srgbClr>
        </a:solidFill>
        <a:ln w="34925" cap="flat" cmpd="sng" algn="in">
          <a:solidFill>
            <a:srgbClr val="F2F3F4">
              <a:alpha val="9000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7620" rIns="0" bIns="7620" numCol="1" spcCol="1270" anchor="ctr" anchorCtr="0">
          <a:noAutofit/>
        </a:bodyPr>
        <a:lstStyle/>
        <a:p>
          <a:pPr marL="0" lvl="0" indent="0" algn="ctr" defTabSz="533400">
            <a:lnSpc>
              <a:spcPct val="90000"/>
            </a:lnSpc>
            <a:spcBef>
              <a:spcPct val="0"/>
            </a:spcBef>
            <a:spcAft>
              <a:spcPct val="35000"/>
            </a:spcAft>
            <a:buNone/>
          </a:pPr>
          <a:r>
            <a:rPr lang="nl-NL" sz="1200" b="1" kern="1200">
              <a:solidFill>
                <a:srgbClr val="1D5886"/>
              </a:solidFill>
              <a:latin typeface="Barlow" panose="00000500000000000000" pitchFamily="2" charset="0"/>
            </a:rPr>
            <a:t>Mei ’26</a:t>
          </a:r>
        </a:p>
        <a:p>
          <a:pPr marL="0" lvl="0" indent="0" algn="ctr" defTabSz="533400">
            <a:lnSpc>
              <a:spcPct val="90000"/>
            </a:lnSpc>
            <a:spcBef>
              <a:spcPct val="0"/>
            </a:spcBef>
            <a:spcAft>
              <a:spcPct val="35000"/>
            </a:spcAft>
            <a:buNone/>
          </a:pPr>
          <a:r>
            <a:rPr lang="nl-NL" sz="1200" kern="1200">
              <a:solidFill>
                <a:srgbClr val="1D5886"/>
              </a:solidFill>
              <a:latin typeface="Barlow" panose="00000500000000000000" pitchFamily="2" charset="0"/>
            </a:rPr>
            <a:t>Evaluatie</a:t>
          </a:r>
        </a:p>
        <a:p>
          <a:pPr marL="0" lvl="0" indent="0" algn="ctr" defTabSz="533400">
            <a:lnSpc>
              <a:spcPct val="90000"/>
            </a:lnSpc>
            <a:spcBef>
              <a:spcPct val="0"/>
            </a:spcBef>
            <a:spcAft>
              <a:spcPct val="35000"/>
            </a:spcAft>
            <a:buNone/>
          </a:pPr>
          <a:endParaRPr lang="nl-NL" sz="1200" kern="1200">
            <a:solidFill>
              <a:srgbClr val="1D5886"/>
            </a:solidFill>
            <a:latin typeface="Barlow" panose="00000500000000000000" pitchFamily="2" charset="0"/>
          </a:endParaRPr>
        </a:p>
      </dsp:txBody>
      <dsp:txXfrm>
        <a:off x="7170142" y="2144382"/>
        <a:ext cx="1449101" cy="966067"/>
      </dsp:txXfrm>
    </dsp:sp>
  </dsp:spTree>
</dsp:drawing>
</file>

<file path=ppt/diagrams/layout1.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C582B3A-2FE3-4D5E-A301-5F92208D8FC9}"/>
              </a:ext>
            </a:extLst>
          </p:cNvPr>
          <p:cNvSpPr>
            <a:spLocks noGrp="1"/>
          </p:cNvSpPr>
          <p:nvPr>
            <p:ph type="hdr" sz="quarter"/>
          </p:nvPr>
        </p:nvSpPr>
        <p:spPr>
          <a:xfrm>
            <a:off x="1" y="0"/>
            <a:ext cx="2945659" cy="58276"/>
          </a:xfrm>
          <a:prstGeom prst="rect">
            <a:avLst/>
          </a:prstGeom>
        </p:spPr>
        <p:txBody>
          <a:bodyPr vert="horz" lIns="91001" tIns="45501" rIns="91001" bIns="45501" rtlCol="0"/>
          <a:lstStyle>
            <a:lvl1pPr algn="l">
              <a:defRPr sz="1200"/>
            </a:lvl1pPr>
          </a:lstStyle>
          <a:p>
            <a:endParaRPr lang="nl-NL"/>
          </a:p>
        </p:txBody>
      </p:sp>
      <p:sp>
        <p:nvSpPr>
          <p:cNvPr id="3" name="Date Placeholder 2">
            <a:extLst>
              <a:ext uri="{FF2B5EF4-FFF2-40B4-BE49-F238E27FC236}">
                <a16:creationId xmlns:a16="http://schemas.microsoft.com/office/drawing/2014/main" id="{0E8354DE-A566-46E8-8522-1FE9E24DF5C7}"/>
              </a:ext>
            </a:extLst>
          </p:cNvPr>
          <p:cNvSpPr>
            <a:spLocks noGrp="1"/>
          </p:cNvSpPr>
          <p:nvPr>
            <p:ph type="dt" sz="quarter" idx="1"/>
          </p:nvPr>
        </p:nvSpPr>
        <p:spPr>
          <a:xfrm>
            <a:off x="3850443" y="0"/>
            <a:ext cx="2945659" cy="58276"/>
          </a:xfrm>
          <a:prstGeom prst="rect">
            <a:avLst/>
          </a:prstGeom>
        </p:spPr>
        <p:txBody>
          <a:bodyPr vert="horz" lIns="91001" tIns="45501" rIns="91001" bIns="45501" rtlCol="0"/>
          <a:lstStyle>
            <a:lvl1pPr algn="r">
              <a:defRPr sz="1200"/>
            </a:lvl1pPr>
          </a:lstStyle>
          <a:p>
            <a:fld id="{D469FEC0-B7F6-4759-A4CF-E361D85561CA}" type="datetimeFigureOut">
              <a:rPr lang="nl-NL" smtClean="0"/>
              <a:t>17-12-2025</a:t>
            </a:fld>
            <a:endParaRPr lang="nl-NL"/>
          </a:p>
        </p:txBody>
      </p:sp>
      <p:sp>
        <p:nvSpPr>
          <p:cNvPr id="4" name="Footer Placeholder 3">
            <a:extLst>
              <a:ext uri="{FF2B5EF4-FFF2-40B4-BE49-F238E27FC236}">
                <a16:creationId xmlns:a16="http://schemas.microsoft.com/office/drawing/2014/main" id="{BB849738-B23E-4E72-8CF7-D2453888AD5A}"/>
              </a:ext>
            </a:extLst>
          </p:cNvPr>
          <p:cNvSpPr>
            <a:spLocks noGrp="1"/>
          </p:cNvSpPr>
          <p:nvPr>
            <p:ph type="ftr" sz="quarter" idx="2"/>
          </p:nvPr>
        </p:nvSpPr>
        <p:spPr>
          <a:xfrm>
            <a:off x="1" y="1093536"/>
            <a:ext cx="2945659" cy="58276"/>
          </a:xfrm>
          <a:prstGeom prst="rect">
            <a:avLst/>
          </a:prstGeom>
        </p:spPr>
        <p:txBody>
          <a:bodyPr vert="horz" lIns="91001" tIns="45501" rIns="91001" bIns="45501" rtlCol="0" anchor="b"/>
          <a:lstStyle>
            <a:lvl1pPr algn="l">
              <a:defRPr sz="1200"/>
            </a:lvl1pPr>
          </a:lstStyle>
          <a:p>
            <a:endParaRPr lang="nl-NL"/>
          </a:p>
        </p:txBody>
      </p:sp>
      <p:sp>
        <p:nvSpPr>
          <p:cNvPr id="5" name="Slide Number Placeholder 4">
            <a:extLst>
              <a:ext uri="{FF2B5EF4-FFF2-40B4-BE49-F238E27FC236}">
                <a16:creationId xmlns:a16="http://schemas.microsoft.com/office/drawing/2014/main" id="{AF18EAB9-31DA-43D9-8FE5-DBB1AAACD985}"/>
              </a:ext>
            </a:extLst>
          </p:cNvPr>
          <p:cNvSpPr>
            <a:spLocks noGrp="1"/>
          </p:cNvSpPr>
          <p:nvPr>
            <p:ph type="sldNum" sz="quarter" idx="3"/>
          </p:nvPr>
        </p:nvSpPr>
        <p:spPr>
          <a:xfrm>
            <a:off x="3850443" y="1093536"/>
            <a:ext cx="2945659" cy="58276"/>
          </a:xfrm>
          <a:prstGeom prst="rect">
            <a:avLst/>
          </a:prstGeom>
        </p:spPr>
        <p:txBody>
          <a:bodyPr vert="horz" lIns="91001" tIns="45501" rIns="91001" bIns="45501" rtlCol="0" anchor="b"/>
          <a:lstStyle>
            <a:lvl1pPr algn="r">
              <a:defRPr sz="1200"/>
            </a:lvl1pPr>
          </a:lstStyle>
          <a:p>
            <a:fld id="{64E0B389-134B-4A3E-8316-ED02F8AD60C4}" type="slidenum">
              <a:rPr lang="nl-NL" smtClean="0"/>
              <a:t>‹#›</a:t>
            </a:fld>
            <a:endParaRPr lang="nl-NL"/>
          </a:p>
        </p:txBody>
      </p:sp>
    </p:spTree>
    <p:extLst>
      <p:ext uri="{BB962C8B-B14F-4D97-AF65-F5344CB8AC3E}">
        <p14:creationId xmlns:p14="http://schemas.microsoft.com/office/powerpoint/2010/main" val="21910519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5348"/>
          </a:xfrm>
          <a:prstGeom prst="rect">
            <a:avLst/>
          </a:prstGeom>
        </p:spPr>
        <p:txBody>
          <a:bodyPr vert="horz" lIns="91001" tIns="45501" rIns="91001" bIns="45501" rtlCol="0"/>
          <a:lstStyle>
            <a:lvl1pPr algn="l">
              <a:defRPr sz="1200"/>
            </a:lvl1pPr>
          </a:lstStyle>
          <a:p>
            <a:endParaRPr lang="nl-NL"/>
          </a:p>
        </p:txBody>
      </p:sp>
      <p:sp>
        <p:nvSpPr>
          <p:cNvPr id="3" name="Date Placeholder 2"/>
          <p:cNvSpPr>
            <a:spLocks noGrp="1"/>
          </p:cNvSpPr>
          <p:nvPr>
            <p:ph type="dt" idx="1"/>
          </p:nvPr>
        </p:nvSpPr>
        <p:spPr>
          <a:xfrm>
            <a:off x="3850443" y="0"/>
            <a:ext cx="2945659" cy="495348"/>
          </a:xfrm>
          <a:prstGeom prst="rect">
            <a:avLst/>
          </a:prstGeom>
        </p:spPr>
        <p:txBody>
          <a:bodyPr vert="horz" lIns="91001" tIns="45501" rIns="91001" bIns="45501" rtlCol="0"/>
          <a:lstStyle>
            <a:lvl1pPr algn="r">
              <a:defRPr sz="1200"/>
            </a:lvl1pPr>
          </a:lstStyle>
          <a:p>
            <a:fld id="{9F789F1F-B5BD-41FA-920C-085EFD4ABFAF}" type="datetimeFigureOut">
              <a:rPr lang="nl-NL" smtClean="0"/>
              <a:t>17-12-2025</a:t>
            </a:fld>
            <a:endParaRPr lang="nl-NL"/>
          </a:p>
        </p:txBody>
      </p:sp>
      <p:sp>
        <p:nvSpPr>
          <p:cNvPr id="4" name="Slide Image Placeholder 3"/>
          <p:cNvSpPr>
            <a:spLocks noGrp="1" noRot="1" noChangeAspect="1"/>
          </p:cNvSpPr>
          <p:nvPr>
            <p:ph type="sldImg" idx="2"/>
          </p:nvPr>
        </p:nvSpPr>
        <p:spPr>
          <a:xfrm>
            <a:off x="436563" y="1233488"/>
            <a:ext cx="5924550" cy="3332162"/>
          </a:xfrm>
          <a:prstGeom prst="rect">
            <a:avLst/>
          </a:prstGeom>
          <a:noFill/>
          <a:ln w="12700">
            <a:solidFill>
              <a:prstClr val="black"/>
            </a:solidFill>
          </a:ln>
        </p:spPr>
        <p:txBody>
          <a:bodyPr vert="horz" lIns="91001" tIns="45501" rIns="91001" bIns="45501" rtlCol="0" anchor="ctr"/>
          <a:lstStyle/>
          <a:p>
            <a:endParaRPr lang="nl-NL"/>
          </a:p>
        </p:txBody>
      </p:sp>
      <p:sp>
        <p:nvSpPr>
          <p:cNvPr id="5" name="Notes Placeholder 4"/>
          <p:cNvSpPr>
            <a:spLocks noGrp="1"/>
          </p:cNvSpPr>
          <p:nvPr>
            <p:ph type="body" sz="quarter" idx="3"/>
          </p:nvPr>
        </p:nvSpPr>
        <p:spPr>
          <a:xfrm>
            <a:off x="679768" y="4751219"/>
            <a:ext cx="5438140" cy="3887361"/>
          </a:xfrm>
          <a:prstGeom prst="rect">
            <a:avLst/>
          </a:prstGeom>
        </p:spPr>
        <p:txBody>
          <a:bodyPr vert="horz" lIns="91001" tIns="45501" rIns="91001" bIns="45501" rtlCol="0"/>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6" name="Footer Placeholder 5"/>
          <p:cNvSpPr>
            <a:spLocks noGrp="1"/>
          </p:cNvSpPr>
          <p:nvPr>
            <p:ph type="ftr" sz="quarter" idx="4"/>
          </p:nvPr>
        </p:nvSpPr>
        <p:spPr>
          <a:xfrm>
            <a:off x="1" y="9377318"/>
            <a:ext cx="2945659" cy="495347"/>
          </a:xfrm>
          <a:prstGeom prst="rect">
            <a:avLst/>
          </a:prstGeom>
        </p:spPr>
        <p:txBody>
          <a:bodyPr vert="horz" lIns="91001" tIns="45501" rIns="91001" bIns="45501" rtlCol="0" anchor="b"/>
          <a:lstStyle>
            <a:lvl1pPr algn="l">
              <a:defRPr sz="1200"/>
            </a:lvl1pPr>
          </a:lstStyle>
          <a:p>
            <a:endParaRPr lang="nl-NL"/>
          </a:p>
        </p:txBody>
      </p:sp>
      <p:sp>
        <p:nvSpPr>
          <p:cNvPr id="7" name="Slide Number Placeholder 6"/>
          <p:cNvSpPr>
            <a:spLocks noGrp="1"/>
          </p:cNvSpPr>
          <p:nvPr>
            <p:ph type="sldNum" sz="quarter" idx="5"/>
          </p:nvPr>
        </p:nvSpPr>
        <p:spPr>
          <a:xfrm>
            <a:off x="3850443" y="9377318"/>
            <a:ext cx="2945659" cy="495347"/>
          </a:xfrm>
          <a:prstGeom prst="rect">
            <a:avLst/>
          </a:prstGeom>
        </p:spPr>
        <p:txBody>
          <a:bodyPr vert="horz" lIns="91001" tIns="45501" rIns="91001" bIns="45501" rtlCol="0" anchor="b"/>
          <a:lstStyle>
            <a:lvl1pPr algn="r">
              <a:defRPr sz="1200"/>
            </a:lvl1pPr>
          </a:lstStyle>
          <a:p>
            <a:fld id="{5FF54353-AE09-4C46-BA21-856802C55E29}" type="slidenum">
              <a:rPr lang="nl-NL" smtClean="0"/>
              <a:t>‹#›</a:t>
            </a:fld>
            <a:endParaRPr lang="nl-NL"/>
          </a:p>
        </p:txBody>
      </p:sp>
    </p:spTree>
    <p:extLst>
      <p:ext uri="{BB962C8B-B14F-4D97-AF65-F5344CB8AC3E}">
        <p14:creationId xmlns:p14="http://schemas.microsoft.com/office/powerpoint/2010/main" val="3240624327"/>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txBody>
          <a:bodyPr/>
          <a:lstStyle/>
          <a:p>
            <a:endParaRPr lang="nl-NL"/>
          </a:p>
        </p:txBody>
      </p:sp>
      <p:sp>
        <p:nvSpPr>
          <p:cNvPr id="3" name="Tijdelijke aanduiding voor notities 2"/>
          <p:cNvSpPr>
            <a:spLocks noGrp="1"/>
          </p:cNvSpPr>
          <p:nvPr>
            <p:ph type="body" idx="1"/>
          </p:nvPr>
        </p:nvSpPr>
        <p:spPr/>
        <p:txBody>
          <a:bodyPr/>
          <a:lstStyle/>
          <a:p>
            <a:pPr marL="171450" indent="-171450">
              <a:buFont typeface="Arial" panose="020B0604020202020204" pitchFamily="34" charset="0"/>
              <a:buChar char="•"/>
            </a:pPr>
            <a:endParaRPr lang="nl-NL"/>
          </a:p>
        </p:txBody>
      </p:sp>
      <p:sp>
        <p:nvSpPr>
          <p:cNvPr id="4" name="Tijdelijke aanduiding voor dianummer 3"/>
          <p:cNvSpPr>
            <a:spLocks noGrp="1"/>
          </p:cNvSpPr>
          <p:nvPr>
            <p:ph type="sldNum" sz="quarter" idx="5"/>
          </p:nvPr>
        </p:nvSpPr>
        <p:spPr/>
        <p:txBody>
          <a:bodyPr/>
          <a:lstStyle/>
          <a:p>
            <a:fld id="{5FF54353-AE09-4C46-BA21-856802C55E29}" type="slidenum">
              <a:rPr lang="nl-NL" smtClean="0"/>
              <a:t>1</a:t>
            </a:fld>
            <a:endParaRPr lang="nl-NL"/>
          </a:p>
        </p:txBody>
      </p:sp>
    </p:spTree>
    <p:extLst>
      <p:ext uri="{BB962C8B-B14F-4D97-AF65-F5344CB8AC3E}">
        <p14:creationId xmlns:p14="http://schemas.microsoft.com/office/powerpoint/2010/main" val="36846469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txBody>
          <a:bodyPr/>
          <a:lstStyle/>
          <a:p>
            <a:endParaRPr lang="nl-NL"/>
          </a:p>
        </p:txBody>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5FF54353-AE09-4C46-BA21-856802C55E29}" type="slidenum">
              <a:rPr lang="nl-NL" smtClean="0"/>
              <a:t>15</a:t>
            </a:fld>
            <a:endParaRPr lang="nl-NL"/>
          </a:p>
        </p:txBody>
      </p:sp>
    </p:spTree>
    <p:extLst>
      <p:ext uri="{BB962C8B-B14F-4D97-AF65-F5344CB8AC3E}">
        <p14:creationId xmlns:p14="http://schemas.microsoft.com/office/powerpoint/2010/main" val="18459748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0864FF-6EFB-4884-5F6E-38B9EB554F33}"/>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434FA2B3-785A-2DAB-D3ED-931DBA609B35}"/>
              </a:ext>
            </a:extLst>
          </p:cNvPr>
          <p:cNvSpPr>
            <a:spLocks noGrp="1" noRot="1" noChangeAspect="1"/>
          </p:cNvSpPr>
          <p:nvPr>
            <p:ph type="sldImg"/>
          </p:nvPr>
        </p:nvSpPr>
        <p:spPr/>
        <p:txBody>
          <a:bodyPr/>
          <a:lstStyle/>
          <a:p>
            <a:endParaRPr lang="nl-NL"/>
          </a:p>
        </p:txBody>
      </p:sp>
      <p:sp>
        <p:nvSpPr>
          <p:cNvPr id="3" name="Tijdelijke aanduiding voor notities 2">
            <a:extLst>
              <a:ext uri="{FF2B5EF4-FFF2-40B4-BE49-F238E27FC236}">
                <a16:creationId xmlns:a16="http://schemas.microsoft.com/office/drawing/2014/main" id="{86FDD6DC-1C63-160C-0434-A951DB281587}"/>
              </a:ext>
            </a:extLst>
          </p:cNvPr>
          <p:cNvSpPr>
            <a:spLocks noGrp="1"/>
          </p:cNvSpPr>
          <p:nvPr>
            <p:ph type="body" idx="1"/>
          </p:nvPr>
        </p:nvSpPr>
        <p:spPr/>
        <p:txBody>
          <a:bodyPr/>
          <a:lstStyle/>
          <a:p>
            <a:endParaRPr lang="nl-NL"/>
          </a:p>
        </p:txBody>
      </p:sp>
      <p:sp>
        <p:nvSpPr>
          <p:cNvPr id="4" name="Tijdelijke aanduiding voor dianummer 3">
            <a:extLst>
              <a:ext uri="{FF2B5EF4-FFF2-40B4-BE49-F238E27FC236}">
                <a16:creationId xmlns:a16="http://schemas.microsoft.com/office/drawing/2014/main" id="{E112278E-92DA-ED86-0138-9A73F958BD23}"/>
              </a:ext>
            </a:extLst>
          </p:cNvPr>
          <p:cNvSpPr>
            <a:spLocks noGrp="1"/>
          </p:cNvSpPr>
          <p:nvPr>
            <p:ph type="sldNum" sz="quarter" idx="5"/>
          </p:nvPr>
        </p:nvSpPr>
        <p:spPr/>
        <p:txBody>
          <a:bodyPr/>
          <a:lstStyle/>
          <a:p>
            <a:fld id="{5FF54353-AE09-4C46-BA21-856802C55E29}" type="slidenum">
              <a:rPr lang="nl-NL" smtClean="0"/>
              <a:t>17</a:t>
            </a:fld>
            <a:endParaRPr lang="nl-NL"/>
          </a:p>
        </p:txBody>
      </p:sp>
    </p:spTree>
    <p:extLst>
      <p:ext uri="{BB962C8B-B14F-4D97-AF65-F5344CB8AC3E}">
        <p14:creationId xmlns:p14="http://schemas.microsoft.com/office/powerpoint/2010/main" val="5785734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txBody>
          <a:bodyPr/>
          <a:lstStyle/>
          <a:p>
            <a:endParaRPr lang="nl-NL"/>
          </a:p>
        </p:txBody>
      </p:sp>
      <p:sp>
        <p:nvSpPr>
          <p:cNvPr id="3" name="Tijdelijke aanduiding voor notities 2"/>
          <p:cNvSpPr>
            <a:spLocks noGrp="1"/>
          </p:cNvSpPr>
          <p:nvPr>
            <p:ph type="body" idx="1"/>
          </p:nvPr>
        </p:nvSpPr>
        <p:spPr/>
        <p:txBody>
          <a:bodyPr/>
          <a:lstStyle/>
          <a:p>
            <a:r>
              <a:rPr lang="nl-NL" sz="1200" kern="1200">
                <a:solidFill>
                  <a:schemeClr val="tx1"/>
                </a:solidFill>
                <a:effectLst/>
                <a:latin typeface="+mn-lt"/>
                <a:ea typeface="+mn-ea"/>
                <a:cs typeface="+mn-cs"/>
              </a:rPr>
              <a:t>De overzichtsweergave kan opgedeeld worden in twee blokken:</a:t>
            </a:r>
          </a:p>
          <a:p>
            <a:pPr lvl="0"/>
            <a:r>
              <a:rPr lang="nl-NL" sz="1200" kern="1200">
                <a:solidFill>
                  <a:schemeClr val="tx1"/>
                </a:solidFill>
                <a:effectLst/>
                <a:latin typeface="+mn-lt"/>
                <a:ea typeface="+mn-ea"/>
                <a:cs typeface="+mn-cs"/>
              </a:rPr>
              <a:t>Aan de linkerzijde een kolom met </a:t>
            </a:r>
            <a:r>
              <a:rPr lang="nl-NL" sz="1200" i="1" kern="1200">
                <a:solidFill>
                  <a:schemeClr val="tx1"/>
                </a:solidFill>
                <a:effectLst/>
                <a:latin typeface="+mn-lt"/>
                <a:ea typeface="+mn-ea"/>
                <a:cs typeface="+mn-cs"/>
              </a:rPr>
              <a:t>informatie over de eigen organisatie.</a:t>
            </a:r>
            <a:endParaRPr lang="nl-NL" sz="1200" kern="1200">
              <a:solidFill>
                <a:schemeClr val="tx1"/>
              </a:solidFill>
              <a:effectLst/>
              <a:latin typeface="+mn-lt"/>
              <a:ea typeface="+mn-ea"/>
              <a:cs typeface="+mn-cs"/>
            </a:endParaRPr>
          </a:p>
          <a:p>
            <a:pPr lvl="0"/>
            <a:r>
              <a:rPr lang="nl-NL" sz="1200" kern="1200">
                <a:solidFill>
                  <a:schemeClr val="tx1"/>
                </a:solidFill>
                <a:effectLst/>
                <a:latin typeface="+mn-lt"/>
                <a:ea typeface="+mn-ea"/>
                <a:cs typeface="+mn-cs"/>
              </a:rPr>
              <a:t>Aan de rechterzijde een blok waarin </a:t>
            </a:r>
            <a:r>
              <a:rPr lang="nl-NL" sz="1200" i="1" kern="1200">
                <a:solidFill>
                  <a:schemeClr val="tx1"/>
                </a:solidFill>
                <a:effectLst/>
                <a:latin typeface="+mn-lt"/>
                <a:ea typeface="+mn-ea"/>
                <a:cs typeface="+mn-cs"/>
              </a:rPr>
              <a:t>informatie van de favoriete ziekenhuizen</a:t>
            </a:r>
            <a:r>
              <a:rPr lang="nl-NL" sz="1200" kern="1200">
                <a:solidFill>
                  <a:schemeClr val="tx1"/>
                </a:solidFill>
                <a:effectLst/>
                <a:latin typeface="+mn-lt"/>
                <a:ea typeface="+mn-ea"/>
                <a:cs typeface="+mn-cs"/>
              </a:rPr>
              <a:t> wordt getoond.</a:t>
            </a:r>
          </a:p>
          <a:p>
            <a:r>
              <a:rPr lang="nl-NL" sz="1200" kern="1200">
                <a:solidFill>
                  <a:schemeClr val="tx1"/>
                </a:solidFill>
                <a:effectLst/>
                <a:latin typeface="+mn-lt"/>
                <a:ea typeface="+mn-ea"/>
                <a:cs typeface="+mn-cs"/>
              </a:rPr>
              <a:t>Onderstaand wordt per blok verdere toelichting gegeven.</a:t>
            </a:r>
          </a:p>
          <a:p>
            <a:r>
              <a:rPr lang="nl-NL" sz="1200" kern="1200">
                <a:solidFill>
                  <a:schemeClr val="tx1"/>
                </a:solidFill>
                <a:effectLst/>
                <a:latin typeface="+mn-lt"/>
                <a:ea typeface="+mn-ea"/>
                <a:cs typeface="+mn-cs"/>
              </a:rPr>
              <a:t> </a:t>
            </a:r>
          </a:p>
          <a:p>
            <a:r>
              <a:rPr lang="nl-NL" sz="1200" b="1" kern="1200">
                <a:solidFill>
                  <a:schemeClr val="tx1"/>
                </a:solidFill>
                <a:effectLst/>
                <a:latin typeface="+mn-lt"/>
                <a:ea typeface="+mn-ea"/>
                <a:cs typeface="+mn-cs"/>
              </a:rPr>
              <a:t>Informatie eigen locatie</a:t>
            </a:r>
          </a:p>
          <a:p>
            <a:r>
              <a:rPr lang="nl-NL" sz="1200" kern="1200">
                <a:solidFill>
                  <a:schemeClr val="tx1"/>
                </a:solidFill>
                <a:effectLst/>
                <a:latin typeface="+mn-lt"/>
                <a:ea typeface="+mn-ea"/>
                <a:cs typeface="+mn-cs"/>
              </a:rPr>
              <a:t>Informatie </a:t>
            </a:r>
            <a:r>
              <a:rPr lang="nl-NL" sz="1200" kern="1200" err="1">
                <a:solidFill>
                  <a:schemeClr val="tx1"/>
                </a:solidFill>
                <a:effectLst/>
                <a:latin typeface="+mn-lt"/>
                <a:ea typeface="+mn-ea"/>
                <a:cs typeface="+mn-cs"/>
              </a:rPr>
              <a:t>linkerkolom</a:t>
            </a:r>
            <a:r>
              <a:rPr lang="nl-NL" sz="1200" kern="1200">
                <a:solidFill>
                  <a:schemeClr val="tx1"/>
                </a:solidFill>
                <a:effectLst/>
                <a:latin typeface="+mn-lt"/>
                <a:ea typeface="+mn-ea"/>
                <a:cs typeface="+mn-cs"/>
              </a:rPr>
              <a:t>:</a:t>
            </a:r>
          </a:p>
          <a:p>
            <a:pPr lvl="0"/>
            <a:r>
              <a:rPr lang="nl-NL" sz="1200" i="1" kern="1200">
                <a:solidFill>
                  <a:schemeClr val="tx1"/>
                </a:solidFill>
                <a:effectLst/>
                <a:latin typeface="+mn-lt"/>
                <a:ea typeface="+mn-ea"/>
                <a:cs typeface="+mn-cs"/>
              </a:rPr>
              <a:t>Navigatie-element</a:t>
            </a:r>
            <a:r>
              <a:rPr lang="nl-NL" sz="1200" kern="1200">
                <a:solidFill>
                  <a:schemeClr val="tx1"/>
                </a:solidFill>
                <a:effectLst/>
                <a:latin typeface="+mn-lt"/>
                <a:ea typeface="+mn-ea"/>
                <a:cs typeface="+mn-cs"/>
              </a:rPr>
              <a:t> om te wisselen tussen de overzichtsweergave en de kaartweergave.</a:t>
            </a:r>
          </a:p>
          <a:p>
            <a:pPr lvl="0"/>
            <a:r>
              <a:rPr lang="nl-NL" sz="1200" i="1" kern="1200">
                <a:solidFill>
                  <a:schemeClr val="tx1"/>
                </a:solidFill>
                <a:effectLst/>
                <a:latin typeface="+mn-lt"/>
                <a:ea typeface="+mn-ea"/>
                <a:cs typeface="+mn-cs"/>
              </a:rPr>
              <a:t>Capaciteit</a:t>
            </a:r>
            <a:r>
              <a:rPr lang="nl-NL" sz="1200" kern="1200">
                <a:solidFill>
                  <a:schemeClr val="tx1"/>
                </a:solidFill>
                <a:effectLst/>
                <a:latin typeface="+mn-lt"/>
                <a:ea typeface="+mn-ea"/>
                <a:cs typeface="+mn-cs"/>
              </a:rPr>
              <a:t>: Informatie over de capaciteit van de eigen locatie.</a:t>
            </a:r>
          </a:p>
          <a:p>
            <a:pPr lvl="1"/>
            <a:r>
              <a:rPr lang="nl-NL" sz="1200" i="1" kern="1200">
                <a:solidFill>
                  <a:schemeClr val="tx1"/>
                </a:solidFill>
                <a:effectLst/>
                <a:latin typeface="+mn-lt"/>
                <a:ea typeface="+mn-ea"/>
                <a:cs typeface="+mn-cs"/>
              </a:rPr>
              <a:t>Bekijken hoe de beschikbare capaciteit berekend is:</a:t>
            </a:r>
            <a:r>
              <a:rPr lang="nl-NL" sz="1200" kern="1200">
                <a:solidFill>
                  <a:schemeClr val="tx1"/>
                </a:solidFill>
                <a:effectLst/>
                <a:latin typeface="+mn-lt"/>
                <a:ea typeface="+mn-ea"/>
                <a:cs typeface="+mn-cs"/>
              </a:rPr>
              <a:t> Wanneer op het capaciteitsitem geklikt wordt, worden voor desbetreffend </a:t>
            </a:r>
            <a:r>
              <a:rPr lang="nl-NL" sz="1200" kern="1200" err="1">
                <a:solidFill>
                  <a:schemeClr val="tx1"/>
                </a:solidFill>
                <a:effectLst/>
                <a:latin typeface="+mn-lt"/>
                <a:ea typeface="+mn-ea"/>
                <a:cs typeface="+mn-cs"/>
              </a:rPr>
              <a:t>bedtype</a:t>
            </a:r>
            <a:r>
              <a:rPr lang="nl-NL" sz="1200" kern="1200">
                <a:solidFill>
                  <a:schemeClr val="tx1"/>
                </a:solidFill>
                <a:effectLst/>
                <a:latin typeface="+mn-lt"/>
                <a:ea typeface="+mn-ea"/>
                <a:cs typeface="+mn-cs"/>
              </a:rPr>
              <a:t> de gereserveerde- en bezette bedden getoond. Zo ziet een gebruiker hoe voor de eigen locatie de beschikbare capaciteit is berekend. Voor gebruikers buiten jouw organisatie is dit </a:t>
            </a:r>
            <a:r>
              <a:rPr lang="nl-NL" sz="1200" u="sng" kern="1200">
                <a:solidFill>
                  <a:schemeClr val="tx1"/>
                </a:solidFill>
                <a:effectLst/>
                <a:latin typeface="+mn-lt"/>
                <a:ea typeface="+mn-ea"/>
                <a:cs typeface="+mn-cs"/>
              </a:rPr>
              <a:t>niet</a:t>
            </a:r>
            <a:r>
              <a:rPr lang="nl-NL" sz="1200" kern="1200">
                <a:solidFill>
                  <a:schemeClr val="tx1"/>
                </a:solidFill>
                <a:effectLst/>
                <a:latin typeface="+mn-lt"/>
                <a:ea typeface="+mn-ea"/>
                <a:cs typeface="+mn-cs"/>
              </a:rPr>
              <a:t> zichtbaar. </a:t>
            </a:r>
          </a:p>
          <a:p>
            <a:pPr lvl="0"/>
            <a:r>
              <a:rPr lang="nl-NL" sz="1200" i="1" kern="1200">
                <a:solidFill>
                  <a:schemeClr val="tx1"/>
                </a:solidFill>
                <a:effectLst/>
                <a:latin typeface="+mn-lt"/>
                <a:ea typeface="+mn-ea"/>
                <a:cs typeface="+mn-cs"/>
              </a:rPr>
              <a:t>Apparatuur</a:t>
            </a:r>
            <a:r>
              <a:rPr lang="nl-NL" sz="1200" kern="1200">
                <a:solidFill>
                  <a:schemeClr val="tx1"/>
                </a:solidFill>
                <a:effectLst/>
                <a:latin typeface="+mn-lt"/>
                <a:ea typeface="+mn-ea"/>
                <a:cs typeface="+mn-cs"/>
              </a:rPr>
              <a:t>: Onder apparatuur wordt de apparatuur getoond die voor desbetreffend specialisme relevant zijn. Voor de kindergeneeskunde zijn dit “monitoren”, voor de neonatologie zijn dit “monitoren”  en “ademhalingsondersteuning anders dan low flow”.</a:t>
            </a:r>
          </a:p>
          <a:p>
            <a:pPr lvl="1"/>
            <a:r>
              <a:rPr lang="nl-NL" sz="1200" i="1" kern="1200">
                <a:solidFill>
                  <a:schemeClr val="tx1"/>
                </a:solidFill>
                <a:effectLst/>
                <a:latin typeface="+mn-lt"/>
                <a:ea typeface="+mn-ea"/>
                <a:cs typeface="+mn-cs"/>
              </a:rPr>
              <a:t>Apparatuurstop afkondigen</a:t>
            </a:r>
            <a:r>
              <a:rPr lang="nl-NL" sz="1200" kern="1200">
                <a:solidFill>
                  <a:schemeClr val="tx1"/>
                </a:solidFill>
                <a:effectLst/>
                <a:latin typeface="+mn-lt"/>
                <a:ea typeface="+mn-ea"/>
                <a:cs typeface="+mn-cs"/>
              </a:rPr>
              <a:t>: Wanneer een locatie een tekort heeft aan een van de </a:t>
            </a:r>
            <a:r>
              <a:rPr lang="nl-NL" sz="1200" kern="1200" err="1">
                <a:solidFill>
                  <a:schemeClr val="tx1"/>
                </a:solidFill>
                <a:effectLst/>
                <a:latin typeface="+mn-lt"/>
                <a:ea typeface="+mn-ea"/>
                <a:cs typeface="+mn-cs"/>
              </a:rPr>
              <a:t>apparatuuritems</a:t>
            </a:r>
            <a:r>
              <a:rPr lang="nl-NL" sz="1200" kern="1200">
                <a:solidFill>
                  <a:schemeClr val="tx1"/>
                </a:solidFill>
                <a:effectLst/>
                <a:latin typeface="+mn-lt"/>
                <a:ea typeface="+mn-ea"/>
                <a:cs typeface="+mn-cs"/>
              </a:rPr>
              <a:t> kan een apparatuur stop worden afgekondigd. Dit kan door het schuifje te verzetten. In het voorbeeld van onderstaande afbeelding is er een monitorstop afgekondigd. Een apparatuurstop verloopt automatisch na 24 uur. </a:t>
            </a:r>
          </a:p>
          <a:p>
            <a:pPr lvl="1"/>
            <a:endParaRPr lang="nl-NL" sz="1200" kern="1200">
              <a:solidFill>
                <a:schemeClr val="tx1"/>
              </a:solidFill>
              <a:effectLst/>
              <a:latin typeface="+mn-lt"/>
              <a:ea typeface="+mn-ea"/>
              <a:cs typeface="+mn-cs"/>
            </a:endParaRPr>
          </a:p>
          <a:p>
            <a:pPr lvl="0"/>
            <a:r>
              <a:rPr lang="nl-NL" sz="1200" b="1" kern="1200">
                <a:solidFill>
                  <a:schemeClr val="tx1"/>
                </a:solidFill>
                <a:effectLst/>
                <a:latin typeface="+mn-lt"/>
                <a:ea typeface="+mn-ea"/>
                <a:cs typeface="+mn-cs"/>
              </a:rPr>
              <a:t>Informatie favoriete ziekenhuizen</a:t>
            </a:r>
          </a:p>
          <a:p>
            <a:r>
              <a:rPr lang="nl-NL" sz="1200" kern="1200">
                <a:solidFill>
                  <a:schemeClr val="tx1"/>
                </a:solidFill>
                <a:effectLst/>
                <a:latin typeface="+mn-lt"/>
                <a:ea typeface="+mn-ea"/>
                <a:cs typeface="+mn-cs"/>
              </a:rPr>
              <a:t>Informatie rechterkolom:</a:t>
            </a:r>
          </a:p>
          <a:p>
            <a:pPr lvl="0"/>
            <a:r>
              <a:rPr lang="nl-NL" sz="1200" i="1" kern="1200">
                <a:solidFill>
                  <a:schemeClr val="tx1"/>
                </a:solidFill>
                <a:effectLst/>
                <a:latin typeface="+mn-lt"/>
                <a:ea typeface="+mn-ea"/>
                <a:cs typeface="+mn-cs"/>
              </a:rPr>
              <a:t>Capaciteit</a:t>
            </a:r>
            <a:r>
              <a:rPr lang="nl-NL" sz="1200" kern="1200">
                <a:solidFill>
                  <a:schemeClr val="tx1"/>
                </a:solidFill>
                <a:effectLst/>
                <a:latin typeface="+mn-lt"/>
                <a:ea typeface="+mn-ea"/>
                <a:cs typeface="+mn-cs"/>
              </a:rPr>
              <a:t>: Informatie over de beschikbare capaciteit van de favoriete ziekenhuizen.</a:t>
            </a:r>
          </a:p>
          <a:p>
            <a:pPr lvl="1"/>
            <a:r>
              <a:rPr lang="nl-NL" sz="1200" kern="1200">
                <a:solidFill>
                  <a:schemeClr val="tx1"/>
                </a:solidFill>
                <a:effectLst/>
                <a:latin typeface="+mn-lt"/>
                <a:ea typeface="+mn-ea"/>
                <a:cs typeface="+mn-cs"/>
              </a:rPr>
              <a:t>Het getal dat getoond wordt, geeft het aantal beschikbare bedden van het desbetreffende </a:t>
            </a:r>
            <a:r>
              <a:rPr lang="nl-NL" sz="1200" kern="1200" err="1">
                <a:solidFill>
                  <a:schemeClr val="tx1"/>
                </a:solidFill>
                <a:effectLst/>
                <a:latin typeface="+mn-lt"/>
                <a:ea typeface="+mn-ea"/>
                <a:cs typeface="+mn-cs"/>
              </a:rPr>
              <a:t>bedtype</a:t>
            </a:r>
            <a:r>
              <a:rPr lang="nl-NL" sz="1200" kern="1200">
                <a:solidFill>
                  <a:schemeClr val="tx1"/>
                </a:solidFill>
                <a:effectLst/>
                <a:latin typeface="+mn-lt"/>
                <a:ea typeface="+mn-ea"/>
                <a:cs typeface="+mn-cs"/>
              </a:rPr>
              <a:t> weer. Gereserveerde en geblokkeerde bedden worden </a:t>
            </a:r>
            <a:r>
              <a:rPr lang="nl-NL" sz="1200" u="sng" kern="1200">
                <a:solidFill>
                  <a:schemeClr val="tx1"/>
                </a:solidFill>
                <a:effectLst/>
                <a:latin typeface="+mn-lt"/>
                <a:ea typeface="+mn-ea"/>
                <a:cs typeface="+mn-cs"/>
              </a:rPr>
              <a:t>niet</a:t>
            </a:r>
            <a:r>
              <a:rPr lang="nl-NL" sz="1200" kern="1200">
                <a:solidFill>
                  <a:schemeClr val="tx1"/>
                </a:solidFill>
                <a:effectLst/>
                <a:latin typeface="+mn-lt"/>
                <a:ea typeface="+mn-ea"/>
                <a:cs typeface="+mn-cs"/>
              </a:rPr>
              <a:t> meegenomen in dit aantal. </a:t>
            </a:r>
          </a:p>
          <a:p>
            <a:pPr lvl="1"/>
            <a:r>
              <a:rPr lang="nl-NL" sz="1200" kern="1200">
                <a:solidFill>
                  <a:schemeClr val="tx1"/>
                </a:solidFill>
                <a:effectLst/>
                <a:latin typeface="+mn-lt"/>
                <a:ea typeface="+mn-ea"/>
                <a:cs typeface="+mn-cs"/>
              </a:rPr>
              <a:t>De gekleurde indicator (groen, oranje, rood) wordt ook wel de drempelwaardenindicator genoemd. Iedere organisatie kan zelf drempelwaarden instellen, zo kan het zijn dat er al een rode indicator getoond wordt terwijl er nog wel één of meer beschikbare bedden zijn. Dit is maar net welke afspraken er gemaakt zijn over het vrijhouden van bedden voor bijvoorbeeld interne processen. De drempelwaardenindicatoren zouden als volgt geïnterpreteerd kunnen worden:</a:t>
            </a:r>
          </a:p>
          <a:p>
            <a:pPr lvl="2"/>
            <a:r>
              <a:rPr lang="nl-NL" sz="1200" kern="1200">
                <a:solidFill>
                  <a:schemeClr val="tx1"/>
                </a:solidFill>
                <a:effectLst/>
                <a:latin typeface="+mn-lt"/>
                <a:ea typeface="+mn-ea"/>
                <a:cs typeface="+mn-cs"/>
              </a:rPr>
              <a:t>Groen: er is plek, je kunt bellen.</a:t>
            </a:r>
          </a:p>
          <a:p>
            <a:pPr lvl="2"/>
            <a:r>
              <a:rPr lang="nl-NL" sz="1200" kern="1200">
                <a:solidFill>
                  <a:schemeClr val="tx1"/>
                </a:solidFill>
                <a:effectLst/>
                <a:latin typeface="+mn-lt"/>
                <a:ea typeface="+mn-ea"/>
                <a:cs typeface="+mn-cs"/>
              </a:rPr>
              <a:t>Oranje: het is wat krap, maar je kunt een poging doen en bellen.</a:t>
            </a:r>
          </a:p>
          <a:p>
            <a:pPr lvl="2"/>
            <a:r>
              <a:rPr lang="nl-NL" sz="1200" kern="1200">
                <a:solidFill>
                  <a:schemeClr val="tx1"/>
                </a:solidFill>
                <a:effectLst/>
                <a:latin typeface="+mn-lt"/>
                <a:ea typeface="+mn-ea"/>
                <a:cs typeface="+mn-cs"/>
              </a:rPr>
              <a:t>Rood: er is geen plek, bel bij voorkeur iemand anders.</a:t>
            </a:r>
          </a:p>
          <a:p>
            <a:r>
              <a:rPr lang="nl-NL" sz="1200" i="1" kern="1200">
                <a:solidFill>
                  <a:schemeClr val="tx1"/>
                </a:solidFill>
                <a:effectLst/>
                <a:latin typeface="+mn-lt"/>
                <a:ea typeface="+mn-ea"/>
                <a:cs typeface="+mn-cs"/>
              </a:rPr>
              <a:t>	Dit is een voorbeeld hoe er omgegaan kan worden met de indicatoren, werkafspraken van de regio zijn hierin altijd leidend. </a:t>
            </a:r>
            <a:endParaRPr lang="nl-NL" sz="1200" kern="1200">
              <a:solidFill>
                <a:schemeClr val="tx1"/>
              </a:solidFill>
              <a:effectLst/>
              <a:latin typeface="+mn-lt"/>
              <a:ea typeface="+mn-ea"/>
              <a:cs typeface="+mn-cs"/>
            </a:endParaRPr>
          </a:p>
          <a:p>
            <a:pPr lvl="0"/>
            <a:r>
              <a:rPr lang="nl-NL" sz="1200" i="1" kern="1200">
                <a:solidFill>
                  <a:schemeClr val="tx1"/>
                </a:solidFill>
                <a:effectLst/>
                <a:latin typeface="+mn-lt"/>
                <a:ea typeface="+mn-ea"/>
                <a:cs typeface="+mn-cs"/>
              </a:rPr>
              <a:t>Apparatuur:</a:t>
            </a:r>
            <a:r>
              <a:rPr lang="nl-NL" sz="1200" kern="1200">
                <a:solidFill>
                  <a:schemeClr val="tx1"/>
                </a:solidFill>
                <a:effectLst/>
                <a:latin typeface="+mn-lt"/>
                <a:ea typeface="+mn-ea"/>
                <a:cs typeface="+mn-cs"/>
              </a:rPr>
              <a:t> Informatie over de </a:t>
            </a:r>
            <a:r>
              <a:rPr lang="nl-NL" sz="1200" u="sng" kern="1200">
                <a:solidFill>
                  <a:schemeClr val="tx1"/>
                </a:solidFill>
                <a:effectLst/>
                <a:latin typeface="+mn-lt"/>
                <a:ea typeface="+mn-ea"/>
                <a:cs typeface="+mn-cs"/>
              </a:rPr>
              <a:t>niet</a:t>
            </a:r>
            <a:r>
              <a:rPr lang="nl-NL" sz="1200" kern="1200">
                <a:solidFill>
                  <a:schemeClr val="tx1"/>
                </a:solidFill>
                <a:effectLst/>
                <a:latin typeface="+mn-lt"/>
                <a:ea typeface="+mn-ea"/>
                <a:cs typeface="+mn-cs"/>
              </a:rPr>
              <a:t> beschikbare apparatuur. Wanneer een organisatie een apparatuurstop heeft afgekondigd wordt dat hier getoond.</a:t>
            </a:r>
          </a:p>
          <a:p>
            <a:pPr lvl="0"/>
            <a:r>
              <a:rPr lang="nl-NL" sz="1200" i="1" kern="1200">
                <a:solidFill>
                  <a:schemeClr val="tx1"/>
                </a:solidFill>
                <a:effectLst/>
                <a:latin typeface="+mn-lt"/>
                <a:ea typeface="+mn-ea"/>
                <a:cs typeface="+mn-cs"/>
              </a:rPr>
              <a:t>Contactgegevens:</a:t>
            </a:r>
            <a:r>
              <a:rPr lang="nl-NL" sz="1200" kern="1200">
                <a:solidFill>
                  <a:schemeClr val="tx1"/>
                </a:solidFill>
                <a:effectLst/>
                <a:latin typeface="+mn-lt"/>
                <a:ea typeface="+mn-ea"/>
                <a:cs typeface="+mn-cs"/>
              </a:rPr>
              <a:t> Wanneer op het huis-icoon naast de organisatienaam wordt geklikt opent zich een schermpje met meer informatie over desbetreffende organisatie. Onder andere zijn daar contactgegevens te vinden. </a:t>
            </a:r>
          </a:p>
          <a:p>
            <a:pPr lvl="0"/>
            <a:endParaRPr lang="nl-NL" sz="1200" kern="1200">
              <a:solidFill>
                <a:schemeClr val="tx1"/>
              </a:solidFill>
              <a:effectLst/>
              <a:latin typeface="+mn-lt"/>
              <a:ea typeface="+mn-ea"/>
              <a:cs typeface="+mn-cs"/>
            </a:endParaRPr>
          </a:p>
          <a:p>
            <a:r>
              <a:rPr lang="nl-NL" sz="1200" b="1" kern="1200">
                <a:solidFill>
                  <a:schemeClr val="tx1"/>
                </a:solidFill>
                <a:effectLst/>
                <a:latin typeface="+mn-lt"/>
                <a:ea typeface="+mn-ea"/>
                <a:cs typeface="+mn-cs"/>
              </a:rPr>
              <a:t>De kaartweergave is grofweg in te delen in vier blokken:</a:t>
            </a:r>
          </a:p>
          <a:p>
            <a:pPr marL="171450" lvl="0" indent="-171450">
              <a:buFont typeface="Arial" panose="020B0604020202020204" pitchFamily="34" charset="0"/>
              <a:buChar char="•"/>
            </a:pPr>
            <a:r>
              <a:rPr lang="nl-NL" sz="1200" kern="1200">
                <a:solidFill>
                  <a:schemeClr val="tx1"/>
                </a:solidFill>
                <a:effectLst/>
                <a:latin typeface="+mn-lt"/>
                <a:ea typeface="+mn-ea"/>
                <a:cs typeface="+mn-cs"/>
              </a:rPr>
              <a:t>Zoekopdracht.</a:t>
            </a:r>
          </a:p>
          <a:p>
            <a:pPr marL="171450" lvl="0" indent="-171450">
              <a:buFont typeface="Arial" panose="020B0604020202020204" pitchFamily="34" charset="0"/>
              <a:buChar char="•"/>
            </a:pPr>
            <a:r>
              <a:rPr lang="nl-NL" sz="1200" kern="1200">
                <a:solidFill>
                  <a:schemeClr val="tx1"/>
                </a:solidFill>
                <a:effectLst/>
                <a:latin typeface="+mn-lt"/>
                <a:ea typeface="+mn-ea"/>
                <a:cs typeface="+mn-cs"/>
              </a:rPr>
              <a:t>Resultaten in lijstvorm.</a:t>
            </a:r>
          </a:p>
          <a:p>
            <a:pPr marL="171450" lvl="0" indent="-171450">
              <a:buFont typeface="Arial" panose="020B0604020202020204" pitchFamily="34" charset="0"/>
              <a:buChar char="•"/>
            </a:pPr>
            <a:r>
              <a:rPr lang="nl-NL" sz="1200" kern="1200">
                <a:solidFill>
                  <a:schemeClr val="tx1"/>
                </a:solidFill>
                <a:effectLst/>
                <a:latin typeface="+mn-lt"/>
                <a:ea typeface="+mn-ea"/>
                <a:cs typeface="+mn-cs"/>
              </a:rPr>
              <a:t>Resultaten op de kaart.</a:t>
            </a:r>
          </a:p>
          <a:p>
            <a:pPr marL="171450" lvl="0" indent="-171450">
              <a:buFont typeface="Arial" panose="020B0604020202020204" pitchFamily="34" charset="0"/>
              <a:buChar char="•"/>
            </a:pPr>
            <a:r>
              <a:rPr lang="nl-NL" sz="1200" kern="1200">
                <a:solidFill>
                  <a:schemeClr val="tx1"/>
                </a:solidFill>
                <a:effectLst/>
                <a:latin typeface="+mn-lt"/>
                <a:ea typeface="+mn-ea"/>
                <a:cs typeface="+mn-cs"/>
              </a:rPr>
              <a:t>Locatiegegevens / contactgegevens  (deze verschijnen op de plaats van resultaten in lijstvorm wanneer een organisatie wordt aangeklikt).</a:t>
            </a:r>
          </a:p>
          <a:p>
            <a:pPr lvl="0"/>
            <a:endParaRPr lang="nl-NL" sz="1200" kern="1200">
              <a:solidFill>
                <a:schemeClr val="tx1"/>
              </a:solidFill>
              <a:effectLst/>
              <a:latin typeface="+mn-lt"/>
              <a:ea typeface="+mn-ea"/>
              <a:cs typeface="+mn-cs"/>
            </a:endParaRPr>
          </a:p>
          <a:p>
            <a:pPr lvl="0"/>
            <a:r>
              <a:rPr lang="nl-NL" sz="1200" kern="1200">
                <a:solidFill>
                  <a:schemeClr val="tx1"/>
                </a:solidFill>
                <a:effectLst/>
                <a:latin typeface="+mn-lt"/>
                <a:ea typeface="+mn-ea"/>
                <a:cs typeface="+mn-cs"/>
              </a:rPr>
              <a:t>Onderstaand wordt per blok verdere toelichting gegeven.</a:t>
            </a:r>
          </a:p>
          <a:p>
            <a:r>
              <a:rPr lang="nl-NL" sz="1200" b="1" kern="1200">
                <a:solidFill>
                  <a:schemeClr val="tx1"/>
                </a:solidFill>
                <a:effectLst/>
                <a:latin typeface="+mn-lt"/>
                <a:ea typeface="+mn-ea"/>
                <a:cs typeface="+mn-cs"/>
              </a:rPr>
              <a:t>Zoekopdracht</a:t>
            </a:r>
          </a:p>
          <a:p>
            <a:r>
              <a:rPr lang="nl-NL" sz="1200" kern="1200">
                <a:solidFill>
                  <a:schemeClr val="tx1"/>
                </a:solidFill>
                <a:effectLst/>
                <a:latin typeface="+mn-lt"/>
                <a:ea typeface="+mn-ea"/>
                <a:cs typeface="+mn-cs"/>
              </a:rPr>
              <a:t>Bij het gebruik van de kaartweergave start je met een zoekopdracht, daarbij zoek je naar capaciteit voor een specifieke casus. Je kunt de filters selecteren door deze aan te klikken.</a:t>
            </a:r>
          </a:p>
          <a:p>
            <a:pPr marL="228600" indent="-228600">
              <a:buFont typeface="+mj-lt"/>
              <a:buAutoNum type="arabicPeriod"/>
            </a:pPr>
            <a:r>
              <a:rPr lang="nl-NL" sz="1200" kern="1200">
                <a:solidFill>
                  <a:schemeClr val="tx1"/>
                </a:solidFill>
                <a:effectLst/>
                <a:latin typeface="+mn-lt"/>
                <a:ea typeface="+mn-ea"/>
                <a:cs typeface="+mn-cs"/>
              </a:rPr>
              <a:t>Navigatie-element om te wisselen tussen de overzichtsweergave (zie hoofdstuk 3) en de kaartweergave (1).</a:t>
            </a:r>
          </a:p>
          <a:p>
            <a:pPr marL="228600" lvl="0" indent="-228600">
              <a:buFont typeface="+mj-lt"/>
              <a:buAutoNum type="arabicPeriod"/>
            </a:pPr>
            <a:r>
              <a:rPr lang="nl-NL" sz="1200" kern="1200">
                <a:solidFill>
                  <a:schemeClr val="tx1"/>
                </a:solidFill>
                <a:effectLst/>
                <a:latin typeface="+mn-lt"/>
                <a:ea typeface="+mn-ea"/>
                <a:cs typeface="+mn-cs"/>
              </a:rPr>
              <a:t>Onder het kopje </a:t>
            </a:r>
            <a:r>
              <a:rPr lang="nl-NL" sz="1200" i="1" kern="1200">
                <a:solidFill>
                  <a:schemeClr val="tx1"/>
                </a:solidFill>
                <a:effectLst/>
                <a:latin typeface="+mn-lt"/>
                <a:ea typeface="+mn-ea"/>
                <a:cs typeface="+mn-cs"/>
              </a:rPr>
              <a:t>capaciteit</a:t>
            </a:r>
            <a:r>
              <a:rPr lang="nl-NL" sz="1200" kern="1200">
                <a:solidFill>
                  <a:schemeClr val="tx1"/>
                </a:solidFill>
                <a:effectLst/>
                <a:latin typeface="+mn-lt"/>
                <a:ea typeface="+mn-ea"/>
                <a:cs typeface="+mn-cs"/>
              </a:rPr>
              <a:t> kan geselecteerd worden welk </a:t>
            </a:r>
            <a:r>
              <a:rPr lang="nl-NL" sz="1200" kern="1200" err="1">
                <a:solidFill>
                  <a:schemeClr val="tx1"/>
                </a:solidFill>
                <a:effectLst/>
                <a:latin typeface="+mn-lt"/>
                <a:ea typeface="+mn-ea"/>
                <a:cs typeface="+mn-cs"/>
              </a:rPr>
              <a:t>bedtype</a:t>
            </a:r>
            <a:r>
              <a:rPr lang="nl-NL" sz="1200" kern="1200">
                <a:solidFill>
                  <a:schemeClr val="tx1"/>
                </a:solidFill>
                <a:effectLst/>
                <a:latin typeface="+mn-lt"/>
                <a:ea typeface="+mn-ea"/>
                <a:cs typeface="+mn-cs"/>
              </a:rPr>
              <a:t> er gezocht wordt (2). Er kunnen één of meer types worden geselecteerd. </a:t>
            </a:r>
          </a:p>
          <a:p>
            <a:pPr marL="228600" lvl="0" indent="-228600">
              <a:buFont typeface="+mj-lt"/>
              <a:buAutoNum type="arabicPeriod"/>
            </a:pPr>
            <a:r>
              <a:rPr lang="nl-NL" sz="1200" kern="1200">
                <a:solidFill>
                  <a:schemeClr val="tx1"/>
                </a:solidFill>
                <a:effectLst/>
                <a:latin typeface="+mn-lt"/>
                <a:ea typeface="+mn-ea"/>
                <a:cs typeface="+mn-cs"/>
              </a:rPr>
              <a:t>Onder het kopje </a:t>
            </a:r>
            <a:r>
              <a:rPr lang="nl-NL" sz="1200" i="1" kern="1200">
                <a:solidFill>
                  <a:schemeClr val="tx1"/>
                </a:solidFill>
                <a:effectLst/>
                <a:latin typeface="+mn-lt"/>
                <a:ea typeface="+mn-ea"/>
                <a:cs typeface="+mn-cs"/>
              </a:rPr>
              <a:t>profielinformatie</a:t>
            </a:r>
            <a:r>
              <a:rPr lang="nl-NL" sz="1200" kern="1200">
                <a:solidFill>
                  <a:schemeClr val="tx1"/>
                </a:solidFill>
                <a:effectLst/>
                <a:latin typeface="+mn-lt"/>
                <a:ea typeface="+mn-ea"/>
                <a:cs typeface="+mn-cs"/>
              </a:rPr>
              <a:t> kan geselecteerd worden welke faciliteiten en specialismen het ziekenhuis moet kunnen bieden (3). Er kunnen geen, één of meerdere faciliteiten/specialismes worden geselecteerd.</a:t>
            </a:r>
          </a:p>
          <a:p>
            <a:pPr marL="228600" lvl="0" indent="-228600">
              <a:buFont typeface="+mj-lt"/>
              <a:buAutoNum type="arabicPeriod"/>
            </a:pPr>
            <a:r>
              <a:rPr lang="nl-NL" sz="1200" kern="1200">
                <a:solidFill>
                  <a:schemeClr val="tx1"/>
                </a:solidFill>
                <a:effectLst/>
                <a:latin typeface="+mn-lt"/>
                <a:ea typeface="+mn-ea"/>
                <a:cs typeface="+mn-cs"/>
              </a:rPr>
              <a:t>Onder het kopje </a:t>
            </a:r>
            <a:r>
              <a:rPr lang="nl-NL" sz="1200" i="1" kern="1200">
                <a:solidFill>
                  <a:schemeClr val="tx1"/>
                </a:solidFill>
                <a:effectLst/>
                <a:latin typeface="+mn-lt"/>
                <a:ea typeface="+mn-ea"/>
                <a:cs typeface="+mn-cs"/>
              </a:rPr>
              <a:t>apparatuur</a:t>
            </a:r>
            <a:r>
              <a:rPr lang="nl-NL" sz="1200" kern="1200">
                <a:solidFill>
                  <a:schemeClr val="tx1"/>
                </a:solidFill>
                <a:effectLst/>
                <a:latin typeface="+mn-lt"/>
                <a:ea typeface="+mn-ea"/>
                <a:cs typeface="+mn-cs"/>
              </a:rPr>
              <a:t> kan geselecteerd worden welke apparatuur nodig is voor desbetreffende zoekopdracht (4):</a:t>
            </a:r>
          </a:p>
          <a:p>
            <a:pPr lvl="1"/>
            <a:r>
              <a:rPr lang="nl-NL" sz="1200" kern="1200">
                <a:solidFill>
                  <a:schemeClr val="tx1"/>
                </a:solidFill>
                <a:effectLst/>
                <a:latin typeface="+mn-lt"/>
                <a:ea typeface="+mn-ea"/>
                <a:cs typeface="+mn-cs"/>
              </a:rPr>
              <a:t>Voor het kindergeneeskunde dashboard is het apparatuur label monitor beschikbaar.</a:t>
            </a:r>
          </a:p>
          <a:p>
            <a:pPr lvl="1"/>
            <a:r>
              <a:rPr lang="nl-NL" sz="1200" kern="1200">
                <a:solidFill>
                  <a:schemeClr val="tx1"/>
                </a:solidFill>
                <a:effectLst/>
                <a:latin typeface="+mn-lt"/>
                <a:ea typeface="+mn-ea"/>
                <a:cs typeface="+mn-cs"/>
              </a:rPr>
              <a:t>Voor het neonatologie dashboard zijn de </a:t>
            </a:r>
            <a:r>
              <a:rPr lang="nl-NL" sz="1200" kern="1200" err="1">
                <a:solidFill>
                  <a:schemeClr val="tx1"/>
                </a:solidFill>
                <a:effectLst/>
                <a:latin typeface="+mn-lt"/>
                <a:ea typeface="+mn-ea"/>
                <a:cs typeface="+mn-cs"/>
              </a:rPr>
              <a:t>apparatuurlabels</a:t>
            </a:r>
            <a:r>
              <a:rPr lang="nl-NL" sz="1200" kern="1200">
                <a:solidFill>
                  <a:schemeClr val="tx1"/>
                </a:solidFill>
                <a:effectLst/>
                <a:latin typeface="+mn-lt"/>
                <a:ea typeface="+mn-ea"/>
                <a:cs typeface="+mn-cs"/>
              </a:rPr>
              <a:t> “monitor” en “ademhalingsondersteuning anders dan </a:t>
            </a:r>
            <a:r>
              <a:rPr lang="nl-NL" sz="1200" kern="1200" err="1">
                <a:solidFill>
                  <a:schemeClr val="tx1"/>
                </a:solidFill>
                <a:effectLst/>
                <a:latin typeface="+mn-lt"/>
                <a:ea typeface="+mn-ea"/>
                <a:cs typeface="+mn-cs"/>
              </a:rPr>
              <a:t>lowflow</a:t>
            </a:r>
            <a:r>
              <a:rPr lang="nl-NL" sz="1200" kern="1200">
                <a:solidFill>
                  <a:schemeClr val="tx1"/>
                </a:solidFill>
                <a:effectLst/>
                <a:latin typeface="+mn-lt"/>
                <a:ea typeface="+mn-ea"/>
                <a:cs typeface="+mn-cs"/>
              </a:rPr>
              <a:t>” beschikbaar. </a:t>
            </a:r>
          </a:p>
          <a:p>
            <a:r>
              <a:rPr lang="nl-NL" sz="1200" b="1" kern="1200">
                <a:solidFill>
                  <a:schemeClr val="tx1"/>
                </a:solidFill>
                <a:effectLst/>
                <a:latin typeface="+mn-lt"/>
                <a:ea typeface="+mn-ea"/>
                <a:cs typeface="+mn-cs"/>
              </a:rPr>
              <a:t>Resultaten in lijstvorm en op de kaart</a:t>
            </a:r>
          </a:p>
          <a:p>
            <a:r>
              <a:rPr lang="nl-NL" sz="1200" kern="1200">
                <a:solidFill>
                  <a:schemeClr val="tx1"/>
                </a:solidFill>
                <a:effectLst/>
                <a:latin typeface="+mn-lt"/>
                <a:ea typeface="+mn-ea"/>
                <a:cs typeface="+mn-cs"/>
              </a:rPr>
              <a:t>Wanneer de zoekopdracht is ingevoerd (minimaal het </a:t>
            </a:r>
            <a:r>
              <a:rPr lang="nl-NL" sz="1200" kern="1200" err="1">
                <a:solidFill>
                  <a:schemeClr val="tx1"/>
                </a:solidFill>
                <a:effectLst/>
                <a:latin typeface="+mn-lt"/>
                <a:ea typeface="+mn-ea"/>
                <a:cs typeface="+mn-cs"/>
              </a:rPr>
              <a:t>bedtype</a:t>
            </a:r>
            <a:r>
              <a:rPr lang="nl-NL" sz="1200" kern="1200">
                <a:solidFill>
                  <a:schemeClr val="tx1"/>
                </a:solidFill>
                <a:effectLst/>
                <a:latin typeface="+mn-lt"/>
                <a:ea typeface="+mn-ea"/>
                <a:cs typeface="+mn-cs"/>
              </a:rPr>
              <a:t> dient te worden ingevuld), verschijnen er resultaten in lijstvorm onder de zoekopdracht en op de kaartweergave naast de zoekopdracht.</a:t>
            </a:r>
            <a:endParaRPr lang="nl-NL">
              <a:effectLst/>
            </a:endParaRPr>
          </a:p>
          <a:p>
            <a:pPr marL="228600" lvl="0" indent="-228600">
              <a:buFont typeface="+mj-lt"/>
              <a:buAutoNum type="arabicPeriod"/>
            </a:pPr>
            <a:r>
              <a:rPr lang="nl-NL" sz="1200" kern="1200">
                <a:solidFill>
                  <a:schemeClr val="tx1"/>
                </a:solidFill>
                <a:effectLst/>
                <a:latin typeface="+mn-lt"/>
                <a:ea typeface="+mn-ea"/>
                <a:cs typeface="+mn-cs"/>
              </a:rPr>
              <a:t>Bij de resultaten kan gekozen welke ziekenhuizen er getoond worden in de resultaten. Er is de mogelijkheid om te kiezen tussen </a:t>
            </a:r>
            <a:r>
              <a:rPr lang="nl-NL" sz="1200" i="1" kern="1200">
                <a:solidFill>
                  <a:schemeClr val="tx1"/>
                </a:solidFill>
                <a:effectLst/>
                <a:latin typeface="+mn-lt"/>
                <a:ea typeface="+mn-ea"/>
                <a:cs typeface="+mn-cs"/>
              </a:rPr>
              <a:t>favorieten</a:t>
            </a:r>
            <a:r>
              <a:rPr lang="nl-NL" sz="1200" kern="1200">
                <a:solidFill>
                  <a:schemeClr val="tx1"/>
                </a:solidFill>
                <a:effectLst/>
                <a:latin typeface="+mn-lt"/>
                <a:ea typeface="+mn-ea"/>
                <a:cs typeface="+mn-cs"/>
              </a:rPr>
              <a:t>, </a:t>
            </a:r>
            <a:r>
              <a:rPr lang="nl-NL" sz="1200" i="1" kern="1200">
                <a:solidFill>
                  <a:schemeClr val="tx1"/>
                </a:solidFill>
                <a:effectLst/>
                <a:latin typeface="+mn-lt"/>
                <a:ea typeface="+mn-ea"/>
                <a:cs typeface="+mn-cs"/>
              </a:rPr>
              <a:t>ROAZ-regio</a:t>
            </a:r>
            <a:r>
              <a:rPr lang="nl-NL" sz="1200" kern="1200">
                <a:solidFill>
                  <a:schemeClr val="tx1"/>
                </a:solidFill>
                <a:effectLst/>
                <a:latin typeface="+mn-lt"/>
                <a:ea typeface="+mn-ea"/>
                <a:cs typeface="+mn-cs"/>
              </a:rPr>
              <a:t> of </a:t>
            </a:r>
            <a:r>
              <a:rPr lang="nl-NL" sz="1200" i="1" kern="1200">
                <a:solidFill>
                  <a:schemeClr val="tx1"/>
                </a:solidFill>
                <a:effectLst/>
                <a:latin typeface="+mn-lt"/>
                <a:ea typeface="+mn-ea"/>
                <a:cs typeface="+mn-cs"/>
              </a:rPr>
              <a:t>landelijk (1).</a:t>
            </a:r>
            <a:r>
              <a:rPr lang="nl-NL" sz="1200" kern="1200">
                <a:solidFill>
                  <a:schemeClr val="tx1"/>
                </a:solidFill>
                <a:effectLst/>
                <a:latin typeface="+mn-lt"/>
                <a:ea typeface="+mn-ea"/>
                <a:cs typeface="+mn-cs"/>
              </a:rPr>
              <a:t> </a:t>
            </a:r>
          </a:p>
          <a:p>
            <a:pPr marL="228600" lvl="0" indent="-228600">
              <a:buFont typeface="+mj-lt"/>
              <a:buAutoNum type="arabicPeriod"/>
            </a:pPr>
            <a:r>
              <a:rPr lang="nl-NL" sz="1200" kern="1200">
                <a:solidFill>
                  <a:schemeClr val="tx1"/>
                </a:solidFill>
                <a:effectLst/>
                <a:latin typeface="+mn-lt"/>
                <a:ea typeface="+mn-ea"/>
                <a:cs typeface="+mn-cs"/>
              </a:rPr>
              <a:t>Onder de selectieknop en op de kaartweergave worden de ziekenhuizen met beschikbare capaciteit getoond (2).</a:t>
            </a:r>
          </a:p>
          <a:p>
            <a:pPr marL="228600" lvl="0" indent="-228600">
              <a:buFont typeface="+mj-lt"/>
              <a:buAutoNum type="arabicPeriod"/>
            </a:pPr>
            <a:r>
              <a:rPr lang="nl-NL" sz="1200" kern="1200">
                <a:solidFill>
                  <a:schemeClr val="tx1"/>
                </a:solidFill>
                <a:effectLst/>
                <a:latin typeface="+mn-lt"/>
                <a:ea typeface="+mn-ea"/>
                <a:cs typeface="+mn-cs"/>
              </a:rPr>
              <a:t>Op het rechterdeel, de kaart, worden dezelfde resultaten getoond (3).</a:t>
            </a:r>
          </a:p>
          <a:p>
            <a:pPr lvl="1"/>
            <a:r>
              <a:rPr lang="nl-NL" sz="1200" kern="1200">
                <a:solidFill>
                  <a:schemeClr val="tx1"/>
                </a:solidFill>
                <a:effectLst/>
                <a:latin typeface="+mn-lt"/>
                <a:ea typeface="+mn-ea"/>
                <a:cs typeface="+mn-cs"/>
              </a:rPr>
              <a:t>Het getal dat getoond wordt (zowel in de resultaten als op de kaart) geeft het aantal beschikbare bedden van desbetreffende categorie weer. Gereserveerde en geblokkeerde bedden worden </a:t>
            </a:r>
            <a:r>
              <a:rPr lang="nl-NL" sz="1200" u="sng" kern="1200">
                <a:solidFill>
                  <a:schemeClr val="tx1"/>
                </a:solidFill>
                <a:effectLst/>
                <a:latin typeface="+mn-lt"/>
                <a:ea typeface="+mn-ea"/>
                <a:cs typeface="+mn-cs"/>
              </a:rPr>
              <a:t>niet</a:t>
            </a:r>
            <a:r>
              <a:rPr lang="nl-NL" sz="1200" kern="1200">
                <a:solidFill>
                  <a:schemeClr val="tx1"/>
                </a:solidFill>
                <a:effectLst/>
                <a:latin typeface="+mn-lt"/>
                <a:ea typeface="+mn-ea"/>
                <a:cs typeface="+mn-cs"/>
              </a:rPr>
              <a:t> meegenomen in dit aantal. </a:t>
            </a:r>
          </a:p>
          <a:p>
            <a:pPr lvl="1"/>
            <a:r>
              <a:rPr lang="nl-NL" sz="1200" kern="1200">
                <a:solidFill>
                  <a:schemeClr val="tx1"/>
                </a:solidFill>
                <a:effectLst/>
                <a:latin typeface="+mn-lt"/>
                <a:ea typeface="+mn-ea"/>
                <a:cs typeface="+mn-cs"/>
              </a:rPr>
              <a:t>De gekleurde indicator (groen, oranje, rood) wordt ook wel de drempelwaardenindicator genoemd. Iedere organisatie kan zelf drempelwaarden instellen, zo kan het zijn dat er al een rode indicator getoond wordt terwijl er nog wel één of meer beschikbare bedden zijn. Dit is maar net welke afspraken er gemaakt zijn over het vrijhouden van bedden voor bijvoorbeeld interne processen. De drempelwaardenindicatoren zouden als volgt geïnterpreteerd kunnen worden:</a:t>
            </a:r>
          </a:p>
          <a:p>
            <a:pPr lvl="2"/>
            <a:r>
              <a:rPr lang="nl-NL" sz="1200" kern="1200">
                <a:solidFill>
                  <a:schemeClr val="tx1"/>
                </a:solidFill>
                <a:effectLst/>
                <a:latin typeface="+mn-lt"/>
                <a:ea typeface="+mn-ea"/>
                <a:cs typeface="+mn-cs"/>
              </a:rPr>
              <a:t>Groen: er is plek, je kunt bellen.</a:t>
            </a:r>
          </a:p>
          <a:p>
            <a:pPr lvl="2"/>
            <a:r>
              <a:rPr lang="nl-NL" sz="1200" kern="1200">
                <a:solidFill>
                  <a:schemeClr val="tx1"/>
                </a:solidFill>
                <a:effectLst/>
                <a:latin typeface="+mn-lt"/>
                <a:ea typeface="+mn-ea"/>
                <a:cs typeface="+mn-cs"/>
              </a:rPr>
              <a:t>Oranje: het is wat krap, maar je kunt een poging doen en bellen.</a:t>
            </a:r>
          </a:p>
          <a:p>
            <a:pPr lvl="2"/>
            <a:r>
              <a:rPr lang="nl-NL" sz="1200" kern="1200">
                <a:solidFill>
                  <a:schemeClr val="tx1"/>
                </a:solidFill>
                <a:effectLst/>
                <a:latin typeface="+mn-lt"/>
                <a:ea typeface="+mn-ea"/>
                <a:cs typeface="+mn-cs"/>
              </a:rPr>
              <a:t>Rood: er is geen plek, bel bij voorkeur iemand anders.</a:t>
            </a:r>
          </a:p>
          <a:p>
            <a:r>
              <a:rPr lang="nl-NL" sz="1200" i="1" kern="1200">
                <a:solidFill>
                  <a:schemeClr val="tx1"/>
                </a:solidFill>
                <a:effectLst/>
                <a:latin typeface="+mn-lt"/>
                <a:ea typeface="+mn-ea"/>
                <a:cs typeface="+mn-cs"/>
              </a:rPr>
              <a:t>Dit is een voorbeeld hoe er omgegaan kan worden met de indicatoren, werkafspraken van de regio zijn hierin altijd leidend. </a:t>
            </a:r>
            <a:endParaRPr lang="nl-NL" sz="1200" kern="1200">
              <a:solidFill>
                <a:schemeClr val="tx1"/>
              </a:solidFill>
              <a:effectLst/>
              <a:latin typeface="+mn-lt"/>
              <a:ea typeface="+mn-ea"/>
              <a:cs typeface="+mn-cs"/>
            </a:endParaRPr>
          </a:p>
          <a:p>
            <a:r>
              <a:rPr lang="nl-NL" sz="1200" b="1" kern="1200">
                <a:solidFill>
                  <a:schemeClr val="tx1"/>
                </a:solidFill>
                <a:effectLst/>
                <a:latin typeface="+mn-lt"/>
                <a:ea typeface="+mn-ea"/>
                <a:cs typeface="+mn-cs"/>
              </a:rPr>
              <a:t>Locatiegegevens/ contactgegevens</a:t>
            </a:r>
          </a:p>
          <a:p>
            <a:r>
              <a:rPr lang="nl-NL" sz="1200" kern="1200">
                <a:solidFill>
                  <a:schemeClr val="tx1"/>
                </a:solidFill>
                <a:effectLst/>
                <a:latin typeface="+mn-lt"/>
                <a:ea typeface="+mn-ea"/>
                <a:cs typeface="+mn-cs"/>
              </a:rPr>
              <a:t>Wanneer op één van de resultaten wordt geklikt (dit kan zowel via de kaart als via de resultaten in lijstvorm), verschijnen de locatiegegevens/ contactgegevens. </a:t>
            </a:r>
          </a:p>
          <a:p>
            <a:pPr marL="228600" indent="-228600">
              <a:buFont typeface="+mj-lt"/>
              <a:buAutoNum type="arabicPeriod"/>
            </a:pPr>
            <a:r>
              <a:rPr lang="nl-NL" sz="1200" kern="1200">
                <a:solidFill>
                  <a:schemeClr val="tx1"/>
                </a:solidFill>
                <a:effectLst/>
                <a:latin typeface="+mn-lt"/>
                <a:ea typeface="+mn-ea"/>
                <a:cs typeface="+mn-cs"/>
              </a:rPr>
              <a:t>De zoekopdracht verkleint automatisch om ruimte te maken voor de informatie.</a:t>
            </a:r>
          </a:p>
          <a:p>
            <a:pPr marL="228600" lvl="0" indent="-228600">
              <a:buFont typeface="+mj-lt"/>
              <a:buAutoNum type="arabicPeriod"/>
            </a:pPr>
            <a:r>
              <a:rPr lang="nl-NL" sz="1200" kern="1200">
                <a:solidFill>
                  <a:schemeClr val="tx1"/>
                </a:solidFill>
                <a:effectLst/>
                <a:latin typeface="+mn-lt"/>
                <a:ea typeface="+mn-ea"/>
                <a:cs typeface="+mn-cs"/>
              </a:rPr>
              <a:t>Wanneer er veel informatie beschikbaar is, kan het navigatie-element helpen met het snel vinden van de juiste informatie.</a:t>
            </a:r>
          </a:p>
          <a:p>
            <a:pPr>
              <a:lnSpc>
                <a:spcPct val="116000"/>
              </a:lnSpc>
              <a:spcAft>
                <a:spcPts val="800"/>
              </a:spcAft>
              <a:buNone/>
            </a:pPr>
            <a:r>
              <a:rPr lang="nl-NL" sz="1200" kern="1200">
                <a:solidFill>
                  <a:schemeClr val="tx1"/>
                </a:solidFill>
                <a:effectLst/>
                <a:latin typeface="+mn-lt"/>
                <a:ea typeface="+mn-ea"/>
                <a:cs typeface="+mn-cs"/>
              </a:rPr>
              <a:t>Onder de locatiegegevens worden het adres, contactgegevens (</a:t>
            </a:r>
            <a:r>
              <a:rPr lang="nl-NL" sz="1100" b="0" kern="1200">
                <a:solidFill>
                  <a:srgbClr val="1D5886"/>
                </a:solidFill>
                <a:effectLst/>
                <a:latin typeface="Barlow" panose="00000500000000000000" pitchFamily="2" charset="0"/>
                <a:ea typeface="+mn-ea"/>
                <a:cs typeface="+mn-cs"/>
              </a:rPr>
              <a:t>Voor de kindergeneeskunde kunnen de volgende contacttypes worden ingesteld en weergegeven: Dienstdoende kinderarts en Arts-assistent kindergeneeskunde. En voor de neonatologie: Dienstdoende neonatoloog en Arts-assistent neonatologie</a:t>
            </a:r>
            <a:r>
              <a:rPr lang="nl-NL" sz="1200" kern="1200">
                <a:solidFill>
                  <a:schemeClr val="tx1"/>
                </a:solidFill>
                <a:effectLst/>
                <a:latin typeface="+mn-lt"/>
                <a:ea typeface="+mn-ea"/>
                <a:cs typeface="+mn-cs"/>
              </a:rPr>
              <a:t>) en openingstijden gedeeld. Dit geeft de handvatten om contact op te nemen en af te stemmen over de gevonden capaciteit. </a:t>
            </a:r>
          </a:p>
          <a:p>
            <a:endParaRPr lang="nl-NL"/>
          </a:p>
        </p:txBody>
      </p:sp>
      <p:sp>
        <p:nvSpPr>
          <p:cNvPr id="4" name="Tijdelijke aanduiding voor dianummer 3"/>
          <p:cNvSpPr>
            <a:spLocks noGrp="1"/>
          </p:cNvSpPr>
          <p:nvPr>
            <p:ph type="sldNum" sz="quarter" idx="5"/>
          </p:nvPr>
        </p:nvSpPr>
        <p:spPr/>
        <p:txBody>
          <a:bodyPr/>
          <a:lstStyle/>
          <a:p>
            <a:fld id="{5FF54353-AE09-4C46-BA21-856802C55E29}" type="slidenum">
              <a:rPr lang="nl-NL" smtClean="0"/>
              <a:t>18</a:t>
            </a:fld>
            <a:endParaRPr lang="nl-NL"/>
          </a:p>
        </p:txBody>
      </p:sp>
    </p:spTree>
    <p:extLst>
      <p:ext uri="{BB962C8B-B14F-4D97-AF65-F5344CB8AC3E}">
        <p14:creationId xmlns:p14="http://schemas.microsoft.com/office/powerpoint/2010/main" val="38207518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txBody>
          <a:bodyPr/>
          <a:lstStyle/>
          <a:p>
            <a:endParaRPr lang="nl-NL"/>
          </a:p>
        </p:txBody>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5FF54353-AE09-4C46-BA21-856802C55E29}" type="slidenum">
              <a:rPr lang="nl-NL" smtClean="0"/>
              <a:t>19</a:t>
            </a:fld>
            <a:endParaRPr lang="nl-NL"/>
          </a:p>
        </p:txBody>
      </p:sp>
    </p:spTree>
    <p:extLst>
      <p:ext uri="{BB962C8B-B14F-4D97-AF65-F5344CB8AC3E}">
        <p14:creationId xmlns:p14="http://schemas.microsoft.com/office/powerpoint/2010/main" val="21753305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lvl="0"/>
            <a:r>
              <a:rPr lang="nl-NL" sz="1200" kern="1200">
                <a:solidFill>
                  <a:schemeClr val="tx1"/>
                </a:solidFill>
                <a:effectLst/>
                <a:latin typeface="+mn-lt"/>
                <a:ea typeface="+mn-ea"/>
                <a:cs typeface="+mn-cs"/>
              </a:rPr>
              <a:t>De gekleurde indicator (groen, oranje, rood) wordt ook wel de drempelwaardenindicator genoemd. Iedere organisatie kan zelf drempelwaarden instellen, zo kan het zijn dat er al een rode indicator getoond wordt terwijl er nog wel één of meer beschikbare bedden zijn. Dit is maar net welke afspraken er gemaakt zijn over het vrijhouden van bedden voor bijvoorbeeld interne processen. De drempelwaardenindicatoren zouden als volgt geïnterpreteerd kunnen worden:</a:t>
            </a:r>
          </a:p>
          <a:p>
            <a:pPr lvl="2"/>
            <a:r>
              <a:rPr lang="nl-NL" sz="1200" kern="1200">
                <a:solidFill>
                  <a:schemeClr val="tx1"/>
                </a:solidFill>
                <a:effectLst/>
                <a:latin typeface="+mn-lt"/>
                <a:ea typeface="+mn-ea"/>
                <a:cs typeface="+mn-cs"/>
              </a:rPr>
              <a:t>Groen: er is plek, er kan worden gebeld.</a:t>
            </a:r>
          </a:p>
          <a:p>
            <a:pPr lvl="2"/>
            <a:r>
              <a:rPr lang="nl-NL" sz="1200" kern="1200">
                <a:solidFill>
                  <a:schemeClr val="tx1"/>
                </a:solidFill>
                <a:effectLst/>
                <a:latin typeface="+mn-lt"/>
                <a:ea typeface="+mn-ea"/>
                <a:cs typeface="+mn-cs"/>
              </a:rPr>
              <a:t>Oranje: het is wat krap, maar men kan een poging doen en bellen.</a:t>
            </a:r>
          </a:p>
          <a:p>
            <a:pPr lvl="2"/>
            <a:r>
              <a:rPr lang="nl-NL" sz="1200" kern="1200">
                <a:solidFill>
                  <a:schemeClr val="tx1"/>
                </a:solidFill>
                <a:effectLst/>
                <a:latin typeface="+mn-lt"/>
                <a:ea typeface="+mn-ea"/>
                <a:cs typeface="+mn-cs"/>
              </a:rPr>
              <a:t>Rood: er is geen plek, bel bij voorkeur iemand anders.</a:t>
            </a:r>
          </a:p>
          <a:p>
            <a:r>
              <a:rPr lang="nl-NL" sz="1200" i="1" kern="1200">
                <a:solidFill>
                  <a:schemeClr val="tx1"/>
                </a:solidFill>
                <a:effectLst/>
                <a:latin typeface="+mn-lt"/>
                <a:ea typeface="+mn-ea"/>
                <a:cs typeface="+mn-cs"/>
              </a:rPr>
              <a:t>Dit is een voorbeeld hoe er omgegaan kan worden met de indicatoren, werkafspraken van de regio zijn hierin altijd leidend. </a:t>
            </a:r>
            <a:endParaRPr lang="nl-NL" sz="1200" kern="1200">
              <a:solidFill>
                <a:schemeClr val="tx1"/>
              </a:solidFill>
              <a:effectLst/>
              <a:latin typeface="+mn-lt"/>
              <a:ea typeface="+mn-ea"/>
              <a:cs typeface="+mn-cs"/>
            </a:endParaRPr>
          </a:p>
          <a:p>
            <a:endParaRPr lang="nl-NL"/>
          </a:p>
        </p:txBody>
      </p:sp>
      <p:sp>
        <p:nvSpPr>
          <p:cNvPr id="4" name="Tijdelijke aanduiding voor dianummer 3"/>
          <p:cNvSpPr>
            <a:spLocks noGrp="1"/>
          </p:cNvSpPr>
          <p:nvPr>
            <p:ph type="sldNum" sz="quarter" idx="5"/>
          </p:nvPr>
        </p:nvSpPr>
        <p:spPr/>
        <p:txBody>
          <a:bodyPr/>
          <a:lstStyle/>
          <a:p>
            <a:fld id="{5FF54353-AE09-4C46-BA21-856802C55E29}" type="slidenum">
              <a:rPr lang="nl-NL" smtClean="0"/>
              <a:t>23</a:t>
            </a:fld>
            <a:endParaRPr lang="nl-NL"/>
          </a:p>
        </p:txBody>
      </p:sp>
    </p:spTree>
    <p:extLst>
      <p:ext uri="{BB962C8B-B14F-4D97-AF65-F5344CB8AC3E}">
        <p14:creationId xmlns:p14="http://schemas.microsoft.com/office/powerpoint/2010/main" val="16981078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txBody>
          <a:bodyPr/>
          <a:lstStyle/>
          <a:p>
            <a:endParaRPr lang="nl-NL"/>
          </a:p>
        </p:txBody>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5FF54353-AE09-4C46-BA21-856802C55E29}" type="slidenum">
              <a:rPr lang="nl-NL" smtClean="0"/>
              <a:t>24</a:t>
            </a:fld>
            <a:endParaRPr lang="nl-NL"/>
          </a:p>
        </p:txBody>
      </p:sp>
    </p:spTree>
    <p:extLst>
      <p:ext uri="{BB962C8B-B14F-4D97-AF65-F5344CB8AC3E}">
        <p14:creationId xmlns:p14="http://schemas.microsoft.com/office/powerpoint/2010/main" val="10937947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txBody>
          <a:bodyPr/>
          <a:lstStyle/>
          <a:p>
            <a:endParaRPr lang="nl-NL"/>
          </a:p>
        </p:txBody>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200" kern="1200">
                <a:solidFill>
                  <a:schemeClr val="tx1"/>
                </a:solidFill>
                <a:effectLst/>
                <a:latin typeface="+mn-lt"/>
                <a:ea typeface="+mn-ea"/>
                <a:cs typeface="+mn-cs"/>
              </a:rPr>
              <a:t>Het LPZ is een online platform dat inzicht geeft in de beschikbare capaciteit of drukte van acute zorg. Momenteel zijn we met name actief rondom de ziekenhuiszorg en bieden we inzicht aan de ziekenhuizen zelf maar ook aan ketenpartners zoals bijvoorbeeld aan ambulancediensten en eerstelijns verloskundigen.</a:t>
            </a:r>
          </a:p>
          <a:p>
            <a:endParaRPr lang="nl-NL"/>
          </a:p>
        </p:txBody>
      </p:sp>
      <p:sp>
        <p:nvSpPr>
          <p:cNvPr id="4" name="Tijdelijke aanduiding voor dianummer 3"/>
          <p:cNvSpPr>
            <a:spLocks noGrp="1"/>
          </p:cNvSpPr>
          <p:nvPr>
            <p:ph type="sldNum" sz="quarter" idx="5"/>
          </p:nvPr>
        </p:nvSpPr>
        <p:spPr/>
        <p:txBody>
          <a:bodyPr/>
          <a:lstStyle/>
          <a:p>
            <a:fld id="{5FF54353-AE09-4C46-BA21-856802C55E29}" type="slidenum">
              <a:rPr lang="nl-NL" smtClean="0"/>
              <a:t>3</a:t>
            </a:fld>
            <a:endParaRPr lang="nl-NL"/>
          </a:p>
        </p:txBody>
      </p:sp>
    </p:spTree>
    <p:extLst>
      <p:ext uri="{BB962C8B-B14F-4D97-AF65-F5344CB8AC3E}">
        <p14:creationId xmlns:p14="http://schemas.microsoft.com/office/powerpoint/2010/main" val="14236231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txBody>
          <a:bodyPr/>
          <a:lstStyle/>
          <a:p>
            <a:endParaRPr lang="nl-NL"/>
          </a:p>
        </p:txBody>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5FF54353-AE09-4C46-BA21-856802C55E29}" type="slidenum">
              <a:rPr lang="nl-NL" smtClean="0"/>
              <a:t>4</a:t>
            </a:fld>
            <a:endParaRPr lang="nl-NL"/>
          </a:p>
        </p:txBody>
      </p:sp>
    </p:spTree>
    <p:extLst>
      <p:ext uri="{BB962C8B-B14F-4D97-AF65-F5344CB8AC3E}">
        <p14:creationId xmlns:p14="http://schemas.microsoft.com/office/powerpoint/2010/main" val="42931232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txBody>
          <a:bodyPr/>
          <a:lstStyle/>
          <a:p>
            <a:endParaRPr lang="nl-NL"/>
          </a:p>
        </p:txBody>
      </p:sp>
      <p:sp>
        <p:nvSpPr>
          <p:cNvPr id="3" name="Tijdelijke aanduiding voor notities 2"/>
          <p:cNvSpPr>
            <a:spLocks noGrp="1"/>
          </p:cNvSpPr>
          <p:nvPr>
            <p:ph type="body" idx="1"/>
          </p:nvPr>
        </p:nvSpPr>
        <p:spPr/>
        <p:txBody>
          <a:bodyPr/>
          <a:lstStyle/>
          <a:p>
            <a:pPr algn="just" rtl="0" fontAlgn="base">
              <a:lnSpc>
                <a:spcPts val="1294"/>
              </a:lnSpc>
            </a:pPr>
            <a:endParaRPr lang="nl-NL" sz="1200" b="1" i="0" u="none" strike="noStrike">
              <a:solidFill>
                <a:srgbClr val="000000"/>
              </a:solidFill>
              <a:effectLst/>
              <a:latin typeface="Calibri" panose="020F0502020204030204" pitchFamily="34" charset="0"/>
            </a:endParaRPr>
          </a:p>
        </p:txBody>
      </p:sp>
      <p:sp>
        <p:nvSpPr>
          <p:cNvPr id="4" name="Tijdelijke aanduiding voor dianummer 3"/>
          <p:cNvSpPr>
            <a:spLocks noGrp="1"/>
          </p:cNvSpPr>
          <p:nvPr>
            <p:ph type="sldNum" sz="quarter" idx="5"/>
          </p:nvPr>
        </p:nvSpPr>
        <p:spPr/>
        <p:txBody>
          <a:bodyPr/>
          <a:lstStyle/>
          <a:p>
            <a:fld id="{5FF54353-AE09-4C46-BA21-856802C55E29}" type="slidenum">
              <a:rPr lang="nl-NL" smtClean="0"/>
              <a:t>8</a:t>
            </a:fld>
            <a:endParaRPr lang="nl-NL"/>
          </a:p>
        </p:txBody>
      </p:sp>
    </p:spTree>
    <p:extLst>
      <p:ext uri="{BB962C8B-B14F-4D97-AF65-F5344CB8AC3E}">
        <p14:creationId xmlns:p14="http://schemas.microsoft.com/office/powerpoint/2010/main" val="18800409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nl-NL"/>
          </a:p>
        </p:txBody>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9106F50-959A-A445-BF70-8A06EB570B54}" type="slidenum">
              <a:rPr kumimoji="0" lang="nl-NL"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nl-NL"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246167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txBody>
          <a:bodyPr/>
          <a:lstStyle/>
          <a:p>
            <a:endParaRPr lang="nl-NL"/>
          </a:p>
        </p:txBody>
      </p:sp>
      <p:sp>
        <p:nvSpPr>
          <p:cNvPr id="3" name="Tijdelijke aanduiding voor notities 2"/>
          <p:cNvSpPr>
            <a:spLocks noGrp="1"/>
          </p:cNvSpPr>
          <p:nvPr>
            <p:ph type="body" idx="1"/>
          </p:nvPr>
        </p:nvSpPr>
        <p:spPr/>
        <p:txBody>
          <a:bodyPr/>
          <a:lstStyle/>
          <a:p>
            <a:r>
              <a:rPr lang="nl-NL"/>
              <a:t>Goed om te vertellen dat er dus ook een NICU en PICU dashboard is in het LPZ.</a:t>
            </a:r>
          </a:p>
        </p:txBody>
      </p:sp>
      <p:sp>
        <p:nvSpPr>
          <p:cNvPr id="4" name="Tijdelijke aanduiding voor dianummer 3"/>
          <p:cNvSpPr>
            <a:spLocks noGrp="1"/>
          </p:cNvSpPr>
          <p:nvPr>
            <p:ph type="sldNum" sz="quarter" idx="5"/>
          </p:nvPr>
        </p:nvSpPr>
        <p:spPr/>
        <p:txBody>
          <a:bodyPr/>
          <a:lstStyle/>
          <a:p>
            <a:fld id="{5FF54353-AE09-4C46-BA21-856802C55E29}" type="slidenum">
              <a:rPr lang="nl-NL" smtClean="0"/>
              <a:t>11</a:t>
            </a:fld>
            <a:endParaRPr lang="nl-NL"/>
          </a:p>
        </p:txBody>
      </p:sp>
    </p:spTree>
    <p:extLst>
      <p:ext uri="{BB962C8B-B14F-4D97-AF65-F5344CB8AC3E}">
        <p14:creationId xmlns:p14="http://schemas.microsoft.com/office/powerpoint/2010/main" val="21778448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txBody>
          <a:bodyPr/>
          <a:lstStyle/>
          <a:p>
            <a:endParaRPr lang="nl-NL"/>
          </a:p>
        </p:txBody>
      </p:sp>
      <p:sp>
        <p:nvSpPr>
          <p:cNvPr id="3" name="Tijdelijke aanduiding voor notities 2"/>
          <p:cNvSpPr>
            <a:spLocks noGrp="1"/>
          </p:cNvSpPr>
          <p:nvPr>
            <p:ph type="body" idx="1"/>
          </p:nvPr>
        </p:nvSpPr>
        <p:spPr/>
        <p:txBody>
          <a:bodyPr/>
          <a:lstStyle/>
          <a:p>
            <a:pPr lvl="0"/>
            <a:r>
              <a:rPr lang="nl-NL" sz="1200" b="0" kern="1200">
                <a:solidFill>
                  <a:schemeClr val="tx1"/>
                </a:solidFill>
                <a:effectLst/>
                <a:latin typeface="+mn-lt"/>
                <a:ea typeface="+mn-ea"/>
                <a:cs typeface="+mn-cs"/>
              </a:rPr>
              <a:t>Het doel van de dashboards kindergeneeskunde en neonatologie is om regio-overstijgend </a:t>
            </a:r>
            <a:r>
              <a:rPr lang="nl-NL" sz="1200" kern="1200">
                <a:solidFill>
                  <a:schemeClr val="tx1"/>
                </a:solidFill>
                <a:effectLst/>
                <a:latin typeface="+mn-lt"/>
                <a:ea typeface="+mn-ea"/>
                <a:cs typeface="+mn-cs"/>
              </a:rPr>
              <a:t>inzicht te krijgen in de beschikbare capaciteit voor patiënten onder de 18 jaar. Maar inzicht in capaciteit kan niet het doel </a:t>
            </a:r>
            <a:r>
              <a:rPr lang="nl-NL" sz="1200" kern="1200" err="1">
                <a:solidFill>
                  <a:schemeClr val="tx1"/>
                </a:solidFill>
                <a:effectLst/>
                <a:latin typeface="+mn-lt"/>
                <a:ea typeface="+mn-ea"/>
                <a:cs typeface="+mn-cs"/>
              </a:rPr>
              <a:t>an</a:t>
            </a:r>
            <a:r>
              <a:rPr lang="nl-NL" sz="1200" kern="1200">
                <a:solidFill>
                  <a:schemeClr val="tx1"/>
                </a:solidFill>
                <a:effectLst/>
                <a:latin typeface="+mn-lt"/>
                <a:ea typeface="+mn-ea"/>
                <a:cs typeface="+mn-cs"/>
              </a:rPr>
              <a:t> </a:t>
            </a:r>
            <a:r>
              <a:rPr lang="nl-NL" sz="1200" kern="1200" err="1">
                <a:solidFill>
                  <a:schemeClr val="tx1"/>
                </a:solidFill>
                <a:effectLst/>
                <a:latin typeface="+mn-lt"/>
                <a:ea typeface="+mn-ea"/>
                <a:cs typeface="+mn-cs"/>
              </a:rPr>
              <a:t>sich</a:t>
            </a:r>
            <a:r>
              <a:rPr lang="nl-NL" sz="1200" kern="1200">
                <a:solidFill>
                  <a:schemeClr val="tx1"/>
                </a:solidFill>
                <a:effectLst/>
                <a:latin typeface="+mn-lt"/>
                <a:ea typeface="+mn-ea"/>
                <a:cs typeface="+mn-cs"/>
              </a:rPr>
              <a:t> zijn, het is een middel om te komen tot de juiste zorg, op de juiste plek, op het juiste moment.</a:t>
            </a:r>
            <a:r>
              <a:rPr lang="nl-NL" sz="1400" kern="1200">
                <a:solidFill>
                  <a:schemeClr val="tx1"/>
                </a:solidFill>
                <a:effectLst/>
                <a:latin typeface="+mn-lt"/>
                <a:ea typeface="+mn-ea"/>
                <a:cs typeface="+mn-cs"/>
              </a:rPr>
              <a:t> </a:t>
            </a:r>
            <a:r>
              <a:rPr lang="nl-NL" sz="1200" kern="1200">
                <a:solidFill>
                  <a:schemeClr val="tx1"/>
                </a:solidFill>
                <a:effectLst/>
                <a:latin typeface="+mn-lt"/>
                <a:ea typeface="+mn-ea"/>
                <a:cs typeface="+mn-cs"/>
              </a:rPr>
              <a:t>Inzicht in capaciteit ondersteunt ziekenhuizen bij verschillende processen in de dagelijkse praktijk. Inzicht zorgt:</a:t>
            </a:r>
            <a:endParaRPr lang="nl-NL" sz="1400" kern="1200">
              <a:solidFill>
                <a:schemeClr val="tx1"/>
              </a:solidFill>
              <a:effectLst/>
              <a:latin typeface="+mn-lt"/>
              <a:ea typeface="+mn-ea"/>
              <a:cs typeface="+mn-cs"/>
            </a:endParaRPr>
          </a:p>
          <a:p>
            <a:pPr marL="628650" lvl="1" indent="-171450">
              <a:buFont typeface="Arial" panose="020B0604020202020204" pitchFamily="34" charset="0"/>
              <a:buChar char="•"/>
            </a:pPr>
            <a:r>
              <a:rPr lang="nl-NL" sz="1200" kern="1200">
                <a:solidFill>
                  <a:schemeClr val="tx1"/>
                </a:solidFill>
                <a:effectLst/>
                <a:latin typeface="+mn-lt"/>
                <a:ea typeface="+mn-ea"/>
                <a:cs typeface="+mn-cs"/>
              </a:rPr>
              <a:t>Dat je minder lang hoeft te zoeken naar een geschikte plek. Als voorbeeld neem ik even de ervaringen bij de verloskunde, verloskundigen moesten soms wel 5 belletjes plegen voordat ze een ziekenhuis vonden dat plek had. Door inzicht in capaciteit voorkom je belletjes naar organisaties die geen plek hebben. Scheelt voor degene die plek zoekt, maar ook zeker voor de organisatie die vol ligt. </a:t>
            </a:r>
            <a:endParaRPr lang="nl-NL" sz="1400" kern="1200">
              <a:solidFill>
                <a:schemeClr val="tx1"/>
              </a:solidFill>
              <a:effectLst/>
              <a:latin typeface="+mn-lt"/>
              <a:ea typeface="+mn-ea"/>
              <a:cs typeface="+mn-cs"/>
            </a:endParaRPr>
          </a:p>
          <a:p>
            <a:pPr marL="628650" lvl="1" indent="-171450">
              <a:buFont typeface="Arial" panose="020B0604020202020204" pitchFamily="34" charset="0"/>
              <a:buChar char="•"/>
            </a:pPr>
            <a:r>
              <a:rPr lang="nl-NL" sz="1200" kern="1200">
                <a:solidFill>
                  <a:schemeClr val="tx1"/>
                </a:solidFill>
                <a:effectLst/>
                <a:latin typeface="+mn-lt"/>
                <a:ea typeface="+mn-ea"/>
                <a:cs typeface="+mn-cs"/>
              </a:rPr>
              <a:t>In tijden van schaarste en crisis kan het inzicht ook helpen bij het spreiden van patiënten en betere benutting van de capaciteit. </a:t>
            </a:r>
            <a:endParaRPr lang="nl-NL" sz="1400" kern="1200">
              <a:solidFill>
                <a:schemeClr val="tx1"/>
              </a:solidFill>
              <a:effectLst/>
              <a:latin typeface="+mn-lt"/>
              <a:ea typeface="+mn-ea"/>
              <a:cs typeface="+mn-cs"/>
            </a:endParaRPr>
          </a:p>
          <a:p>
            <a:pPr marL="628650" lvl="1" indent="-171450">
              <a:buFont typeface="Arial" panose="020B0604020202020204" pitchFamily="34" charset="0"/>
              <a:buChar char="•"/>
            </a:pPr>
            <a:r>
              <a:rPr lang="nl-NL" sz="1200" kern="1200">
                <a:solidFill>
                  <a:schemeClr val="tx1"/>
                </a:solidFill>
                <a:effectLst/>
                <a:latin typeface="+mn-lt"/>
                <a:ea typeface="+mn-ea"/>
                <a:cs typeface="+mn-cs"/>
              </a:rPr>
              <a:t>Door het inzicht waar beschikbare capaciteit is maak je soms andere keuzes, het LPZ faciliteert in het tonen van de juiste contactgegevens waardoor soms nieuwe samenwerkingen ontstaan.</a:t>
            </a:r>
            <a:endParaRPr lang="nl-NL" sz="1400" kern="1200">
              <a:solidFill>
                <a:schemeClr val="tx1"/>
              </a:solidFill>
              <a:effectLst/>
              <a:latin typeface="+mn-lt"/>
              <a:ea typeface="+mn-ea"/>
              <a:cs typeface="+mn-cs"/>
            </a:endParaRPr>
          </a:p>
          <a:p>
            <a:pPr lvl="0"/>
            <a:r>
              <a:rPr lang="nl-NL" sz="1200" kern="1200">
                <a:solidFill>
                  <a:schemeClr val="tx1"/>
                </a:solidFill>
                <a:effectLst/>
                <a:latin typeface="+mn-lt"/>
                <a:ea typeface="+mn-ea"/>
                <a:cs typeface="+mn-cs"/>
              </a:rPr>
              <a:t>Het ontwikkelen van een dergelijk systeem is 1, maar belangrijker nog is de context waarin het systeem gaat functioneren. Denk dan bijvoorbeeld aan landelijke afspraken over definities, de impact op samenwerking en de daarbij benodigde werkafspraken, maar ook de voorwaarde dat juiste data consistent wordt aangeleverd. Het systeem kan immers maar zo goed zijn als de data die het ontvangt.  </a:t>
            </a:r>
            <a:endParaRPr lang="nl-NL" sz="1400" kern="1200">
              <a:solidFill>
                <a:schemeClr val="tx1"/>
              </a:solidFill>
              <a:effectLst/>
              <a:latin typeface="+mn-lt"/>
              <a:ea typeface="+mn-ea"/>
              <a:cs typeface="+mn-cs"/>
            </a:endParaRPr>
          </a:p>
          <a:p>
            <a:endParaRPr lang="nl-NL"/>
          </a:p>
        </p:txBody>
      </p:sp>
      <p:sp>
        <p:nvSpPr>
          <p:cNvPr id="4" name="Tijdelijke aanduiding voor dianummer 3"/>
          <p:cNvSpPr>
            <a:spLocks noGrp="1"/>
          </p:cNvSpPr>
          <p:nvPr>
            <p:ph type="sldNum" sz="quarter" idx="5"/>
          </p:nvPr>
        </p:nvSpPr>
        <p:spPr/>
        <p:txBody>
          <a:bodyPr/>
          <a:lstStyle/>
          <a:p>
            <a:fld id="{5FF54353-AE09-4C46-BA21-856802C55E29}" type="slidenum">
              <a:rPr lang="nl-NL" smtClean="0"/>
              <a:t>12</a:t>
            </a:fld>
            <a:endParaRPr lang="nl-NL"/>
          </a:p>
        </p:txBody>
      </p:sp>
    </p:spTree>
    <p:extLst>
      <p:ext uri="{BB962C8B-B14F-4D97-AF65-F5344CB8AC3E}">
        <p14:creationId xmlns:p14="http://schemas.microsoft.com/office/powerpoint/2010/main" val="39323294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554411-CD7F-2837-76C9-A17C1850629A}"/>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1D9D0A81-AF7F-6C68-47E2-706027D57903}"/>
              </a:ext>
            </a:extLst>
          </p:cNvPr>
          <p:cNvSpPr>
            <a:spLocks noGrp="1" noRot="1" noChangeAspect="1"/>
          </p:cNvSpPr>
          <p:nvPr>
            <p:ph type="sldImg"/>
          </p:nvPr>
        </p:nvSpPr>
        <p:spPr/>
        <p:txBody>
          <a:bodyPr/>
          <a:lstStyle/>
          <a:p>
            <a:endParaRPr lang="nl-NL"/>
          </a:p>
        </p:txBody>
      </p:sp>
      <p:sp>
        <p:nvSpPr>
          <p:cNvPr id="3" name="Tijdelijke aanduiding voor notities 2">
            <a:extLst>
              <a:ext uri="{FF2B5EF4-FFF2-40B4-BE49-F238E27FC236}">
                <a16:creationId xmlns:a16="http://schemas.microsoft.com/office/drawing/2014/main" id="{A306398A-265C-0ED8-3E48-F6F5DA0B825F}"/>
              </a:ext>
            </a:extLst>
          </p:cNvPr>
          <p:cNvSpPr>
            <a:spLocks noGrp="1"/>
          </p:cNvSpPr>
          <p:nvPr>
            <p:ph type="body" idx="1"/>
          </p:nvPr>
        </p:nvSpPr>
        <p:spPr/>
        <p:txBody>
          <a:bodyPr/>
          <a:lstStyle/>
          <a:p>
            <a:endParaRPr lang="nl-NL"/>
          </a:p>
        </p:txBody>
      </p:sp>
      <p:sp>
        <p:nvSpPr>
          <p:cNvPr id="4" name="Tijdelijke aanduiding voor dianummer 3">
            <a:extLst>
              <a:ext uri="{FF2B5EF4-FFF2-40B4-BE49-F238E27FC236}">
                <a16:creationId xmlns:a16="http://schemas.microsoft.com/office/drawing/2014/main" id="{6073486A-8CD9-496D-0861-5B22CFF1284A}"/>
              </a:ext>
            </a:extLst>
          </p:cNvPr>
          <p:cNvSpPr>
            <a:spLocks noGrp="1"/>
          </p:cNvSpPr>
          <p:nvPr>
            <p:ph type="sldNum" sz="quarter" idx="5"/>
          </p:nvPr>
        </p:nvSpPr>
        <p:spPr/>
        <p:txBody>
          <a:bodyPr/>
          <a:lstStyle/>
          <a:p>
            <a:fld id="{5FF54353-AE09-4C46-BA21-856802C55E29}" type="slidenum">
              <a:rPr lang="nl-NL" smtClean="0"/>
              <a:t>13</a:t>
            </a:fld>
            <a:endParaRPr lang="nl-NL"/>
          </a:p>
        </p:txBody>
      </p:sp>
    </p:spTree>
    <p:extLst>
      <p:ext uri="{BB962C8B-B14F-4D97-AF65-F5344CB8AC3E}">
        <p14:creationId xmlns:p14="http://schemas.microsoft.com/office/powerpoint/2010/main" val="38644389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txBody>
          <a:bodyPr/>
          <a:lstStyle/>
          <a:p>
            <a:endParaRPr lang="nl-NL"/>
          </a:p>
        </p:txBody>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200" b="0" kern="1200">
                <a:solidFill>
                  <a:schemeClr val="tx1"/>
                </a:solidFill>
                <a:effectLst/>
                <a:latin typeface="+mn-lt"/>
                <a:ea typeface="+mn-ea"/>
                <a:cs typeface="+mn-cs"/>
              </a:rPr>
              <a:t>Welke informatie komt er in de dashboards kindergeneeskunde en neonatologie?: </a:t>
            </a:r>
            <a:r>
              <a:rPr lang="nl-NL" sz="1200" kern="1200">
                <a:solidFill>
                  <a:schemeClr val="tx1"/>
                </a:solidFill>
                <a:effectLst/>
                <a:latin typeface="+mn-lt"/>
                <a:ea typeface="+mn-ea"/>
                <a:cs typeface="+mn-cs"/>
              </a:rPr>
              <a:t>Als antwoord op de kernvraag die we de projectgroep en klankbordgroep stelden zijn we tot deze items gekomen (vaak worden de capaciteitsitems ook wel de medium care bedden genoemd). Zie voor meer informatie over de inhoudelijke onderbouwing het document ‘</a:t>
            </a:r>
            <a:r>
              <a:rPr lang="nl-NL" sz="1200" b="1" kern="1200">
                <a:solidFill>
                  <a:schemeClr val="tx1"/>
                </a:solidFill>
                <a:effectLst/>
                <a:latin typeface="+mn-lt"/>
                <a:ea typeface="+mn-ea"/>
                <a:cs typeface="+mn-cs"/>
              </a:rPr>
              <a:t>Onderbouwing keuzes m.b.t. dashboards kindergeneeskunde en neonatologie LPZ’.</a:t>
            </a:r>
            <a:endParaRPr lang="nl-NL" sz="1200" kern="1200">
              <a:solidFill>
                <a:schemeClr val="tx1"/>
              </a:solidFill>
              <a:effectLst/>
              <a:latin typeface="+mn-lt"/>
              <a:ea typeface="+mn-ea"/>
              <a:cs typeface="+mn-cs"/>
            </a:endParaRPr>
          </a:p>
          <a:p>
            <a:pPr lvl="0"/>
            <a:endParaRPr lang="nl-NL" sz="1200" kern="1200">
              <a:solidFill>
                <a:schemeClr val="tx1"/>
              </a:solidFill>
              <a:effectLst/>
              <a:latin typeface="+mn-lt"/>
              <a:ea typeface="+mn-ea"/>
              <a:cs typeface="+mn-cs"/>
            </a:endParaRPr>
          </a:p>
          <a:p>
            <a:pPr lvl="0"/>
            <a:endParaRPr lang="nl-NL" sz="1200" kern="1200">
              <a:solidFill>
                <a:schemeClr val="tx1"/>
              </a:solidFill>
              <a:effectLst/>
              <a:latin typeface="+mn-lt"/>
              <a:ea typeface="+mn-ea"/>
              <a:cs typeface="+mn-cs"/>
            </a:endParaRPr>
          </a:p>
          <a:p>
            <a:endParaRPr lang="nl-NL"/>
          </a:p>
        </p:txBody>
      </p:sp>
      <p:sp>
        <p:nvSpPr>
          <p:cNvPr id="4" name="Tijdelijke aanduiding voor dianummer 3"/>
          <p:cNvSpPr>
            <a:spLocks noGrp="1"/>
          </p:cNvSpPr>
          <p:nvPr>
            <p:ph type="sldNum" sz="quarter" idx="5"/>
          </p:nvPr>
        </p:nvSpPr>
        <p:spPr/>
        <p:txBody>
          <a:bodyPr/>
          <a:lstStyle/>
          <a:p>
            <a:fld id="{5FF54353-AE09-4C46-BA21-856802C55E29}" type="slidenum">
              <a:rPr lang="nl-NL" smtClean="0"/>
              <a:t>14</a:t>
            </a:fld>
            <a:endParaRPr lang="nl-NL"/>
          </a:p>
        </p:txBody>
      </p:sp>
    </p:spTree>
    <p:extLst>
      <p:ext uri="{BB962C8B-B14F-4D97-AF65-F5344CB8AC3E}">
        <p14:creationId xmlns:p14="http://schemas.microsoft.com/office/powerpoint/2010/main" val="38317153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5.jpeg"/><Relationship Id="rId5" Type="http://schemas.openxmlformats.org/officeDocument/2006/relationships/image" Target="../media/image4.png"/><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7.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eldia">
    <p:spTree>
      <p:nvGrpSpPr>
        <p:cNvPr id="1" name=""/>
        <p:cNvGrpSpPr/>
        <p:nvPr/>
      </p:nvGrpSpPr>
      <p:grpSpPr>
        <a:xfrm>
          <a:off x="0" y="0"/>
          <a:ext cx="0" cy="0"/>
          <a:chOff x="0" y="0"/>
          <a:chExt cx="0" cy="0"/>
        </a:xfrm>
      </p:grpSpPr>
      <p:sp>
        <p:nvSpPr>
          <p:cNvPr id="2" name="Rechthoek: afgeronde hoeken 1">
            <a:extLst>
              <a:ext uri="{FF2B5EF4-FFF2-40B4-BE49-F238E27FC236}">
                <a16:creationId xmlns:a16="http://schemas.microsoft.com/office/drawing/2014/main" id="{12AA14B2-5D7B-0164-14A1-A55A90CCCDAB}"/>
              </a:ext>
            </a:extLst>
          </p:cNvPr>
          <p:cNvSpPr/>
          <p:nvPr userDrawn="1"/>
        </p:nvSpPr>
        <p:spPr>
          <a:xfrm>
            <a:off x="-11409" y="616348"/>
            <a:ext cx="6830618" cy="1392564"/>
          </a:xfrm>
          <a:custGeom>
            <a:avLst/>
            <a:gdLst>
              <a:gd name="connsiteX0" fmla="*/ 0 w 6636327"/>
              <a:gd name="connsiteY0" fmla="*/ 232068 h 1392382"/>
              <a:gd name="connsiteX1" fmla="*/ 232068 w 6636327"/>
              <a:gd name="connsiteY1" fmla="*/ 0 h 1392382"/>
              <a:gd name="connsiteX2" fmla="*/ 6404259 w 6636327"/>
              <a:gd name="connsiteY2" fmla="*/ 0 h 1392382"/>
              <a:gd name="connsiteX3" fmla="*/ 6636327 w 6636327"/>
              <a:gd name="connsiteY3" fmla="*/ 232068 h 1392382"/>
              <a:gd name="connsiteX4" fmla="*/ 6636327 w 6636327"/>
              <a:gd name="connsiteY4" fmla="*/ 1160314 h 1392382"/>
              <a:gd name="connsiteX5" fmla="*/ 6404259 w 6636327"/>
              <a:gd name="connsiteY5" fmla="*/ 1392382 h 1392382"/>
              <a:gd name="connsiteX6" fmla="*/ 232068 w 6636327"/>
              <a:gd name="connsiteY6" fmla="*/ 1392382 h 1392382"/>
              <a:gd name="connsiteX7" fmla="*/ 0 w 6636327"/>
              <a:gd name="connsiteY7" fmla="*/ 1160314 h 1392382"/>
              <a:gd name="connsiteX8" fmla="*/ 0 w 6636327"/>
              <a:gd name="connsiteY8" fmla="*/ 232068 h 1392382"/>
              <a:gd name="connsiteX0" fmla="*/ 0 w 6636327"/>
              <a:gd name="connsiteY0" fmla="*/ 232068 h 1392382"/>
              <a:gd name="connsiteX1" fmla="*/ 6404259 w 6636327"/>
              <a:gd name="connsiteY1" fmla="*/ 0 h 1392382"/>
              <a:gd name="connsiteX2" fmla="*/ 6636327 w 6636327"/>
              <a:gd name="connsiteY2" fmla="*/ 232068 h 1392382"/>
              <a:gd name="connsiteX3" fmla="*/ 6636327 w 6636327"/>
              <a:gd name="connsiteY3" fmla="*/ 1160314 h 1392382"/>
              <a:gd name="connsiteX4" fmla="*/ 6404259 w 6636327"/>
              <a:gd name="connsiteY4" fmla="*/ 1392382 h 1392382"/>
              <a:gd name="connsiteX5" fmla="*/ 232068 w 6636327"/>
              <a:gd name="connsiteY5" fmla="*/ 1392382 h 1392382"/>
              <a:gd name="connsiteX6" fmla="*/ 0 w 6636327"/>
              <a:gd name="connsiteY6" fmla="*/ 1160314 h 1392382"/>
              <a:gd name="connsiteX7" fmla="*/ 0 w 6636327"/>
              <a:gd name="connsiteY7" fmla="*/ 232068 h 1392382"/>
              <a:gd name="connsiteX0" fmla="*/ 13855 w 6636327"/>
              <a:gd name="connsiteY0" fmla="*/ 90682 h 1465742"/>
              <a:gd name="connsiteX1" fmla="*/ 6404259 w 6636327"/>
              <a:gd name="connsiteY1" fmla="*/ 73360 h 1465742"/>
              <a:gd name="connsiteX2" fmla="*/ 6636327 w 6636327"/>
              <a:gd name="connsiteY2" fmla="*/ 305428 h 1465742"/>
              <a:gd name="connsiteX3" fmla="*/ 6636327 w 6636327"/>
              <a:gd name="connsiteY3" fmla="*/ 1233674 h 1465742"/>
              <a:gd name="connsiteX4" fmla="*/ 6404259 w 6636327"/>
              <a:gd name="connsiteY4" fmla="*/ 1465742 h 1465742"/>
              <a:gd name="connsiteX5" fmla="*/ 232068 w 6636327"/>
              <a:gd name="connsiteY5" fmla="*/ 1465742 h 1465742"/>
              <a:gd name="connsiteX6" fmla="*/ 0 w 6636327"/>
              <a:gd name="connsiteY6" fmla="*/ 1233674 h 1465742"/>
              <a:gd name="connsiteX7" fmla="*/ 13855 w 6636327"/>
              <a:gd name="connsiteY7" fmla="*/ 90682 h 1465742"/>
              <a:gd name="connsiteX0" fmla="*/ 683186 w 7305658"/>
              <a:gd name="connsiteY0" fmla="*/ 90682 h 1465742"/>
              <a:gd name="connsiteX1" fmla="*/ 7073590 w 7305658"/>
              <a:gd name="connsiteY1" fmla="*/ 73360 h 1465742"/>
              <a:gd name="connsiteX2" fmla="*/ 7305658 w 7305658"/>
              <a:gd name="connsiteY2" fmla="*/ 305428 h 1465742"/>
              <a:gd name="connsiteX3" fmla="*/ 7305658 w 7305658"/>
              <a:gd name="connsiteY3" fmla="*/ 1233674 h 1465742"/>
              <a:gd name="connsiteX4" fmla="*/ 7073590 w 7305658"/>
              <a:gd name="connsiteY4" fmla="*/ 1465742 h 1465742"/>
              <a:gd name="connsiteX5" fmla="*/ 901399 w 7305658"/>
              <a:gd name="connsiteY5" fmla="*/ 1465742 h 1465742"/>
              <a:gd name="connsiteX6" fmla="*/ 683186 w 7305658"/>
              <a:gd name="connsiteY6" fmla="*/ 90682 h 1465742"/>
              <a:gd name="connsiteX0" fmla="*/ 691422 w 7313894"/>
              <a:gd name="connsiteY0" fmla="*/ 90682 h 1465742"/>
              <a:gd name="connsiteX1" fmla="*/ 7081826 w 7313894"/>
              <a:gd name="connsiteY1" fmla="*/ 73360 h 1465742"/>
              <a:gd name="connsiteX2" fmla="*/ 7313894 w 7313894"/>
              <a:gd name="connsiteY2" fmla="*/ 305428 h 1465742"/>
              <a:gd name="connsiteX3" fmla="*/ 7313894 w 7313894"/>
              <a:gd name="connsiteY3" fmla="*/ 1233674 h 1465742"/>
              <a:gd name="connsiteX4" fmla="*/ 7081826 w 7313894"/>
              <a:gd name="connsiteY4" fmla="*/ 1465742 h 1465742"/>
              <a:gd name="connsiteX5" fmla="*/ 909635 w 7313894"/>
              <a:gd name="connsiteY5" fmla="*/ 1465742 h 1465742"/>
              <a:gd name="connsiteX6" fmla="*/ 691422 w 7313894"/>
              <a:gd name="connsiteY6" fmla="*/ 90682 h 1465742"/>
              <a:gd name="connsiteX0" fmla="*/ 1425343 w 6738560"/>
              <a:gd name="connsiteY0" fmla="*/ 57527 h 1727893"/>
              <a:gd name="connsiteX1" fmla="*/ 6506492 w 6738560"/>
              <a:gd name="connsiteY1" fmla="*/ 220314 h 1727893"/>
              <a:gd name="connsiteX2" fmla="*/ 6738560 w 6738560"/>
              <a:gd name="connsiteY2" fmla="*/ 452382 h 1727893"/>
              <a:gd name="connsiteX3" fmla="*/ 6738560 w 6738560"/>
              <a:gd name="connsiteY3" fmla="*/ 1380628 h 1727893"/>
              <a:gd name="connsiteX4" fmla="*/ 6506492 w 6738560"/>
              <a:gd name="connsiteY4" fmla="*/ 1612696 h 1727893"/>
              <a:gd name="connsiteX5" fmla="*/ 334301 w 6738560"/>
              <a:gd name="connsiteY5" fmla="*/ 1612696 h 1727893"/>
              <a:gd name="connsiteX6" fmla="*/ 1425343 w 6738560"/>
              <a:gd name="connsiteY6" fmla="*/ 57527 h 1727893"/>
              <a:gd name="connsiteX0" fmla="*/ 1340784 w 6654001"/>
              <a:gd name="connsiteY0" fmla="*/ 57527 h 1727893"/>
              <a:gd name="connsiteX1" fmla="*/ 6421933 w 6654001"/>
              <a:gd name="connsiteY1" fmla="*/ 220314 h 1727893"/>
              <a:gd name="connsiteX2" fmla="*/ 6654001 w 6654001"/>
              <a:gd name="connsiteY2" fmla="*/ 452382 h 1727893"/>
              <a:gd name="connsiteX3" fmla="*/ 6654001 w 6654001"/>
              <a:gd name="connsiteY3" fmla="*/ 1380628 h 1727893"/>
              <a:gd name="connsiteX4" fmla="*/ 6421933 w 6654001"/>
              <a:gd name="connsiteY4" fmla="*/ 1612696 h 1727893"/>
              <a:gd name="connsiteX5" fmla="*/ 249742 w 6654001"/>
              <a:gd name="connsiteY5" fmla="*/ 1612696 h 1727893"/>
              <a:gd name="connsiteX6" fmla="*/ 1340784 w 6654001"/>
              <a:gd name="connsiteY6" fmla="*/ 57527 h 1727893"/>
              <a:gd name="connsiteX0" fmla="*/ 1304393 w 6617610"/>
              <a:gd name="connsiteY0" fmla="*/ 57527 h 1727893"/>
              <a:gd name="connsiteX1" fmla="*/ 6385542 w 6617610"/>
              <a:gd name="connsiteY1" fmla="*/ 220314 h 1727893"/>
              <a:gd name="connsiteX2" fmla="*/ 6617610 w 6617610"/>
              <a:gd name="connsiteY2" fmla="*/ 452382 h 1727893"/>
              <a:gd name="connsiteX3" fmla="*/ 6617610 w 6617610"/>
              <a:gd name="connsiteY3" fmla="*/ 1380628 h 1727893"/>
              <a:gd name="connsiteX4" fmla="*/ 6385542 w 6617610"/>
              <a:gd name="connsiteY4" fmla="*/ 1612696 h 1727893"/>
              <a:gd name="connsiteX5" fmla="*/ 213351 w 6617610"/>
              <a:gd name="connsiteY5" fmla="*/ 1612696 h 1727893"/>
              <a:gd name="connsiteX6" fmla="*/ 1304393 w 6617610"/>
              <a:gd name="connsiteY6" fmla="*/ 57527 h 1727893"/>
              <a:gd name="connsiteX0" fmla="*/ 320501 w 6936045"/>
              <a:gd name="connsiteY0" fmla="*/ 88730 h 1573086"/>
              <a:gd name="connsiteX1" fmla="*/ 6703977 w 6936045"/>
              <a:gd name="connsiteY1" fmla="*/ 78335 h 1573086"/>
              <a:gd name="connsiteX2" fmla="*/ 6936045 w 6936045"/>
              <a:gd name="connsiteY2" fmla="*/ 310403 h 1573086"/>
              <a:gd name="connsiteX3" fmla="*/ 6936045 w 6936045"/>
              <a:gd name="connsiteY3" fmla="*/ 1238649 h 1573086"/>
              <a:gd name="connsiteX4" fmla="*/ 6703977 w 6936045"/>
              <a:gd name="connsiteY4" fmla="*/ 1470717 h 1573086"/>
              <a:gd name="connsiteX5" fmla="*/ 531786 w 6936045"/>
              <a:gd name="connsiteY5" fmla="*/ 1470717 h 1573086"/>
              <a:gd name="connsiteX6" fmla="*/ 320501 w 6936045"/>
              <a:gd name="connsiteY6" fmla="*/ 88730 h 1573086"/>
              <a:gd name="connsiteX0" fmla="*/ 0 w 6615544"/>
              <a:gd name="connsiteY0" fmla="*/ 88730 h 1719505"/>
              <a:gd name="connsiteX1" fmla="*/ 6383476 w 6615544"/>
              <a:gd name="connsiteY1" fmla="*/ 78335 h 1719505"/>
              <a:gd name="connsiteX2" fmla="*/ 6615544 w 6615544"/>
              <a:gd name="connsiteY2" fmla="*/ 310403 h 1719505"/>
              <a:gd name="connsiteX3" fmla="*/ 6615544 w 6615544"/>
              <a:gd name="connsiteY3" fmla="*/ 1238649 h 1719505"/>
              <a:gd name="connsiteX4" fmla="*/ 6383476 w 6615544"/>
              <a:gd name="connsiteY4" fmla="*/ 1470717 h 1719505"/>
              <a:gd name="connsiteX5" fmla="*/ 211285 w 6615544"/>
              <a:gd name="connsiteY5" fmla="*/ 1470717 h 1719505"/>
              <a:gd name="connsiteX6" fmla="*/ 0 w 6615544"/>
              <a:gd name="connsiteY6" fmla="*/ 88730 h 1719505"/>
              <a:gd name="connsiteX0" fmla="*/ 133766 w 6749310"/>
              <a:gd name="connsiteY0" fmla="*/ 88730 h 1719505"/>
              <a:gd name="connsiteX1" fmla="*/ 6517242 w 6749310"/>
              <a:gd name="connsiteY1" fmla="*/ 78335 h 1719505"/>
              <a:gd name="connsiteX2" fmla="*/ 6749310 w 6749310"/>
              <a:gd name="connsiteY2" fmla="*/ 310403 h 1719505"/>
              <a:gd name="connsiteX3" fmla="*/ 6749310 w 6749310"/>
              <a:gd name="connsiteY3" fmla="*/ 1238649 h 1719505"/>
              <a:gd name="connsiteX4" fmla="*/ 6517242 w 6749310"/>
              <a:gd name="connsiteY4" fmla="*/ 1470717 h 1719505"/>
              <a:gd name="connsiteX5" fmla="*/ 109523 w 6749310"/>
              <a:gd name="connsiteY5" fmla="*/ 1470717 h 1719505"/>
              <a:gd name="connsiteX6" fmla="*/ 133766 w 6749310"/>
              <a:gd name="connsiteY6" fmla="*/ 88730 h 1719505"/>
              <a:gd name="connsiteX0" fmla="*/ 24243 w 6639787"/>
              <a:gd name="connsiteY0" fmla="*/ 88730 h 1470721"/>
              <a:gd name="connsiteX1" fmla="*/ 6407719 w 6639787"/>
              <a:gd name="connsiteY1" fmla="*/ 78335 h 1470721"/>
              <a:gd name="connsiteX2" fmla="*/ 6639787 w 6639787"/>
              <a:gd name="connsiteY2" fmla="*/ 310403 h 1470721"/>
              <a:gd name="connsiteX3" fmla="*/ 6639787 w 6639787"/>
              <a:gd name="connsiteY3" fmla="*/ 1238649 h 1470721"/>
              <a:gd name="connsiteX4" fmla="*/ 6407719 w 6639787"/>
              <a:gd name="connsiteY4" fmla="*/ 1470717 h 1470721"/>
              <a:gd name="connsiteX5" fmla="*/ 0 w 6639787"/>
              <a:gd name="connsiteY5" fmla="*/ 1470717 h 1470721"/>
              <a:gd name="connsiteX6" fmla="*/ 24243 w 6639787"/>
              <a:gd name="connsiteY6" fmla="*/ 88730 h 1470721"/>
              <a:gd name="connsiteX0" fmla="*/ 470028 w 7113281"/>
              <a:gd name="connsiteY0" fmla="*/ 92721 h 1562196"/>
              <a:gd name="connsiteX1" fmla="*/ 6881213 w 7113281"/>
              <a:gd name="connsiteY1" fmla="*/ 68471 h 1562196"/>
              <a:gd name="connsiteX2" fmla="*/ 7113281 w 7113281"/>
              <a:gd name="connsiteY2" fmla="*/ 300539 h 1562196"/>
              <a:gd name="connsiteX3" fmla="*/ 7113281 w 7113281"/>
              <a:gd name="connsiteY3" fmla="*/ 1228785 h 1562196"/>
              <a:gd name="connsiteX4" fmla="*/ 6881213 w 7113281"/>
              <a:gd name="connsiteY4" fmla="*/ 1460853 h 1562196"/>
              <a:gd name="connsiteX5" fmla="*/ 473494 w 7113281"/>
              <a:gd name="connsiteY5" fmla="*/ 1460853 h 1562196"/>
              <a:gd name="connsiteX6" fmla="*/ 470028 w 7113281"/>
              <a:gd name="connsiteY6" fmla="*/ 92721 h 1562196"/>
              <a:gd name="connsiteX0" fmla="*/ 0 w 6643253"/>
              <a:gd name="connsiteY0" fmla="*/ 92721 h 1929353"/>
              <a:gd name="connsiteX1" fmla="*/ 6411185 w 6643253"/>
              <a:gd name="connsiteY1" fmla="*/ 68471 h 1929353"/>
              <a:gd name="connsiteX2" fmla="*/ 6643253 w 6643253"/>
              <a:gd name="connsiteY2" fmla="*/ 300539 h 1929353"/>
              <a:gd name="connsiteX3" fmla="*/ 6643253 w 6643253"/>
              <a:gd name="connsiteY3" fmla="*/ 1228785 h 1929353"/>
              <a:gd name="connsiteX4" fmla="*/ 6411185 w 6643253"/>
              <a:gd name="connsiteY4" fmla="*/ 1460853 h 1929353"/>
              <a:gd name="connsiteX5" fmla="*/ 3466 w 6643253"/>
              <a:gd name="connsiteY5" fmla="*/ 1460853 h 1929353"/>
              <a:gd name="connsiteX6" fmla="*/ 0 w 6643253"/>
              <a:gd name="connsiteY6" fmla="*/ 92721 h 1929353"/>
              <a:gd name="connsiteX0" fmla="*/ 0 w 6643253"/>
              <a:gd name="connsiteY0" fmla="*/ 92721 h 1460866"/>
              <a:gd name="connsiteX1" fmla="*/ 6411185 w 6643253"/>
              <a:gd name="connsiteY1" fmla="*/ 68471 h 1460866"/>
              <a:gd name="connsiteX2" fmla="*/ 6643253 w 6643253"/>
              <a:gd name="connsiteY2" fmla="*/ 300539 h 1460866"/>
              <a:gd name="connsiteX3" fmla="*/ 6643253 w 6643253"/>
              <a:gd name="connsiteY3" fmla="*/ 1228785 h 1460866"/>
              <a:gd name="connsiteX4" fmla="*/ 6411185 w 6643253"/>
              <a:gd name="connsiteY4" fmla="*/ 1460853 h 1460866"/>
              <a:gd name="connsiteX5" fmla="*/ 3466 w 6643253"/>
              <a:gd name="connsiteY5" fmla="*/ 1460853 h 1460866"/>
              <a:gd name="connsiteX6" fmla="*/ 0 w 6643253"/>
              <a:gd name="connsiteY6" fmla="*/ 92721 h 1460866"/>
              <a:gd name="connsiteX0" fmla="*/ 470028 w 7113281"/>
              <a:gd name="connsiteY0" fmla="*/ 90388 h 1568403"/>
              <a:gd name="connsiteX1" fmla="*/ 6881213 w 7113281"/>
              <a:gd name="connsiteY1" fmla="*/ 74089 h 1568403"/>
              <a:gd name="connsiteX2" fmla="*/ 7113281 w 7113281"/>
              <a:gd name="connsiteY2" fmla="*/ 306157 h 1568403"/>
              <a:gd name="connsiteX3" fmla="*/ 7113281 w 7113281"/>
              <a:gd name="connsiteY3" fmla="*/ 1234403 h 1568403"/>
              <a:gd name="connsiteX4" fmla="*/ 6881213 w 7113281"/>
              <a:gd name="connsiteY4" fmla="*/ 1466471 h 1568403"/>
              <a:gd name="connsiteX5" fmla="*/ 473494 w 7113281"/>
              <a:gd name="connsiteY5" fmla="*/ 1466471 h 1568403"/>
              <a:gd name="connsiteX6" fmla="*/ 470028 w 7113281"/>
              <a:gd name="connsiteY6" fmla="*/ 90388 h 1568403"/>
              <a:gd name="connsiteX0" fmla="*/ 470028 w 7113281"/>
              <a:gd name="connsiteY0" fmla="*/ 16299 h 1494314"/>
              <a:gd name="connsiteX1" fmla="*/ 6881213 w 7113281"/>
              <a:gd name="connsiteY1" fmla="*/ 0 h 1494314"/>
              <a:gd name="connsiteX2" fmla="*/ 7113281 w 7113281"/>
              <a:gd name="connsiteY2" fmla="*/ 232068 h 1494314"/>
              <a:gd name="connsiteX3" fmla="*/ 7113281 w 7113281"/>
              <a:gd name="connsiteY3" fmla="*/ 1160314 h 1494314"/>
              <a:gd name="connsiteX4" fmla="*/ 6881213 w 7113281"/>
              <a:gd name="connsiteY4" fmla="*/ 1392382 h 1494314"/>
              <a:gd name="connsiteX5" fmla="*/ 473494 w 7113281"/>
              <a:gd name="connsiteY5" fmla="*/ 1392382 h 1494314"/>
              <a:gd name="connsiteX6" fmla="*/ 470028 w 7113281"/>
              <a:gd name="connsiteY6" fmla="*/ 16299 h 1494314"/>
              <a:gd name="connsiteX0" fmla="*/ 470028 w 7292185"/>
              <a:gd name="connsiteY0" fmla="*/ 16299 h 1494314"/>
              <a:gd name="connsiteX1" fmla="*/ 6881213 w 7292185"/>
              <a:gd name="connsiteY1" fmla="*/ 0 h 1494314"/>
              <a:gd name="connsiteX2" fmla="*/ 7292185 w 7292185"/>
              <a:gd name="connsiteY2" fmla="*/ 228092 h 1494314"/>
              <a:gd name="connsiteX3" fmla="*/ 7113281 w 7292185"/>
              <a:gd name="connsiteY3" fmla="*/ 1160314 h 1494314"/>
              <a:gd name="connsiteX4" fmla="*/ 6881213 w 7292185"/>
              <a:gd name="connsiteY4" fmla="*/ 1392382 h 1494314"/>
              <a:gd name="connsiteX5" fmla="*/ 473494 w 7292185"/>
              <a:gd name="connsiteY5" fmla="*/ 1392382 h 1494314"/>
              <a:gd name="connsiteX6" fmla="*/ 470028 w 7292185"/>
              <a:gd name="connsiteY6" fmla="*/ 16299 h 1494314"/>
              <a:gd name="connsiteX0" fmla="*/ 470028 w 7292185"/>
              <a:gd name="connsiteY0" fmla="*/ 16299 h 1494314"/>
              <a:gd name="connsiteX1" fmla="*/ 6881213 w 7292185"/>
              <a:gd name="connsiteY1" fmla="*/ 0 h 1494314"/>
              <a:gd name="connsiteX2" fmla="*/ 7292185 w 7292185"/>
              <a:gd name="connsiteY2" fmla="*/ 228092 h 1494314"/>
              <a:gd name="connsiteX3" fmla="*/ 7288210 w 7292185"/>
              <a:gd name="connsiteY3" fmla="*/ 1152362 h 1494314"/>
              <a:gd name="connsiteX4" fmla="*/ 6881213 w 7292185"/>
              <a:gd name="connsiteY4" fmla="*/ 1392382 h 1494314"/>
              <a:gd name="connsiteX5" fmla="*/ 473494 w 7292185"/>
              <a:gd name="connsiteY5" fmla="*/ 1392382 h 1494314"/>
              <a:gd name="connsiteX6" fmla="*/ 470028 w 7292185"/>
              <a:gd name="connsiteY6" fmla="*/ 16299 h 1494314"/>
              <a:gd name="connsiteX0" fmla="*/ 470028 w 7296161"/>
              <a:gd name="connsiteY0" fmla="*/ 16299 h 1494314"/>
              <a:gd name="connsiteX1" fmla="*/ 6881213 w 7296161"/>
              <a:gd name="connsiteY1" fmla="*/ 0 h 1494314"/>
              <a:gd name="connsiteX2" fmla="*/ 7292185 w 7296161"/>
              <a:gd name="connsiteY2" fmla="*/ 228092 h 1494314"/>
              <a:gd name="connsiteX3" fmla="*/ 7296161 w 7296161"/>
              <a:gd name="connsiteY3" fmla="*/ 973457 h 1494314"/>
              <a:gd name="connsiteX4" fmla="*/ 6881213 w 7296161"/>
              <a:gd name="connsiteY4" fmla="*/ 1392382 h 1494314"/>
              <a:gd name="connsiteX5" fmla="*/ 473494 w 7296161"/>
              <a:gd name="connsiteY5" fmla="*/ 1392382 h 1494314"/>
              <a:gd name="connsiteX6" fmla="*/ 470028 w 7296161"/>
              <a:gd name="connsiteY6" fmla="*/ 16299 h 1494314"/>
              <a:gd name="connsiteX0" fmla="*/ 470028 w 7296161"/>
              <a:gd name="connsiteY0" fmla="*/ 16299 h 1494314"/>
              <a:gd name="connsiteX1" fmla="*/ 6881213 w 7296161"/>
              <a:gd name="connsiteY1" fmla="*/ 0 h 1494314"/>
              <a:gd name="connsiteX2" fmla="*/ 7292185 w 7296161"/>
              <a:gd name="connsiteY2" fmla="*/ 228092 h 1494314"/>
              <a:gd name="connsiteX3" fmla="*/ 7296161 w 7296161"/>
              <a:gd name="connsiteY3" fmla="*/ 973457 h 1494314"/>
              <a:gd name="connsiteX4" fmla="*/ 6881213 w 7296161"/>
              <a:gd name="connsiteY4" fmla="*/ 1392382 h 1494314"/>
              <a:gd name="connsiteX5" fmla="*/ 473494 w 7296161"/>
              <a:gd name="connsiteY5" fmla="*/ 1392382 h 1494314"/>
              <a:gd name="connsiteX6" fmla="*/ 470028 w 7296161"/>
              <a:gd name="connsiteY6" fmla="*/ 16299 h 1494314"/>
              <a:gd name="connsiteX0" fmla="*/ 470028 w 7522469"/>
              <a:gd name="connsiteY0" fmla="*/ 16299 h 1494314"/>
              <a:gd name="connsiteX1" fmla="*/ 6881213 w 7522469"/>
              <a:gd name="connsiteY1" fmla="*/ 0 h 1494314"/>
              <a:gd name="connsiteX2" fmla="*/ 7296161 w 7522469"/>
              <a:gd name="connsiteY2" fmla="*/ 973457 h 1494314"/>
              <a:gd name="connsiteX3" fmla="*/ 6881213 w 7522469"/>
              <a:gd name="connsiteY3" fmla="*/ 1392382 h 1494314"/>
              <a:gd name="connsiteX4" fmla="*/ 473494 w 7522469"/>
              <a:gd name="connsiteY4" fmla="*/ 1392382 h 1494314"/>
              <a:gd name="connsiteX5" fmla="*/ 470028 w 7522469"/>
              <a:gd name="connsiteY5" fmla="*/ 16299 h 1494314"/>
              <a:gd name="connsiteX0" fmla="*/ 470028 w 7296161"/>
              <a:gd name="connsiteY0" fmla="*/ 16299 h 1494314"/>
              <a:gd name="connsiteX1" fmla="*/ 6881213 w 7296161"/>
              <a:gd name="connsiteY1" fmla="*/ 0 h 1494314"/>
              <a:gd name="connsiteX2" fmla="*/ 7296161 w 7296161"/>
              <a:gd name="connsiteY2" fmla="*/ 973457 h 1494314"/>
              <a:gd name="connsiteX3" fmla="*/ 6881213 w 7296161"/>
              <a:gd name="connsiteY3" fmla="*/ 1392382 h 1494314"/>
              <a:gd name="connsiteX4" fmla="*/ 473494 w 7296161"/>
              <a:gd name="connsiteY4" fmla="*/ 1392382 h 1494314"/>
              <a:gd name="connsiteX5" fmla="*/ 470028 w 7296161"/>
              <a:gd name="connsiteY5" fmla="*/ 16299 h 1494314"/>
              <a:gd name="connsiteX0" fmla="*/ 470028 w 7330462"/>
              <a:gd name="connsiteY0" fmla="*/ 16299 h 1494314"/>
              <a:gd name="connsiteX1" fmla="*/ 7330462 w 7330462"/>
              <a:gd name="connsiteY1" fmla="*/ 0 h 1494314"/>
              <a:gd name="connsiteX2" fmla="*/ 7296161 w 7330462"/>
              <a:gd name="connsiteY2" fmla="*/ 973457 h 1494314"/>
              <a:gd name="connsiteX3" fmla="*/ 6881213 w 7330462"/>
              <a:gd name="connsiteY3" fmla="*/ 1392382 h 1494314"/>
              <a:gd name="connsiteX4" fmla="*/ 473494 w 7330462"/>
              <a:gd name="connsiteY4" fmla="*/ 1392382 h 1494314"/>
              <a:gd name="connsiteX5" fmla="*/ 470028 w 7330462"/>
              <a:gd name="connsiteY5" fmla="*/ 16299 h 1494314"/>
              <a:gd name="connsiteX0" fmla="*/ 470028 w 7331941"/>
              <a:gd name="connsiteY0" fmla="*/ 16299 h 1494314"/>
              <a:gd name="connsiteX1" fmla="*/ 7330462 w 7331941"/>
              <a:gd name="connsiteY1" fmla="*/ 0 h 1494314"/>
              <a:gd name="connsiteX2" fmla="*/ 7331941 w 7331941"/>
              <a:gd name="connsiteY2" fmla="*/ 973457 h 1494314"/>
              <a:gd name="connsiteX3" fmla="*/ 6881213 w 7331941"/>
              <a:gd name="connsiteY3" fmla="*/ 1392382 h 1494314"/>
              <a:gd name="connsiteX4" fmla="*/ 473494 w 7331941"/>
              <a:gd name="connsiteY4" fmla="*/ 1392382 h 1494314"/>
              <a:gd name="connsiteX5" fmla="*/ 470028 w 7331941"/>
              <a:gd name="connsiteY5" fmla="*/ 16299 h 1494314"/>
              <a:gd name="connsiteX0" fmla="*/ 470028 w 7331941"/>
              <a:gd name="connsiteY0" fmla="*/ 16299 h 1494314"/>
              <a:gd name="connsiteX1" fmla="*/ 7330462 w 7331941"/>
              <a:gd name="connsiteY1" fmla="*/ 0 h 1494314"/>
              <a:gd name="connsiteX2" fmla="*/ 7331941 w 7331941"/>
              <a:gd name="connsiteY2" fmla="*/ 973457 h 1494314"/>
              <a:gd name="connsiteX3" fmla="*/ 6881213 w 7331941"/>
              <a:gd name="connsiteY3" fmla="*/ 1392382 h 1494314"/>
              <a:gd name="connsiteX4" fmla="*/ 473494 w 7331941"/>
              <a:gd name="connsiteY4" fmla="*/ 1392382 h 1494314"/>
              <a:gd name="connsiteX5" fmla="*/ 470028 w 7331941"/>
              <a:gd name="connsiteY5" fmla="*/ 16299 h 1494314"/>
              <a:gd name="connsiteX0" fmla="*/ 54220 w 6916133"/>
              <a:gd name="connsiteY0" fmla="*/ 16299 h 1784802"/>
              <a:gd name="connsiteX1" fmla="*/ 6914654 w 6916133"/>
              <a:gd name="connsiteY1" fmla="*/ 0 h 1784802"/>
              <a:gd name="connsiteX2" fmla="*/ 6916133 w 6916133"/>
              <a:gd name="connsiteY2" fmla="*/ 973457 h 1784802"/>
              <a:gd name="connsiteX3" fmla="*/ 6465405 w 6916133"/>
              <a:gd name="connsiteY3" fmla="*/ 1392382 h 1784802"/>
              <a:gd name="connsiteX4" fmla="*/ 57686 w 6916133"/>
              <a:gd name="connsiteY4" fmla="*/ 1392382 h 1784802"/>
              <a:gd name="connsiteX5" fmla="*/ 54220 w 6916133"/>
              <a:gd name="connsiteY5" fmla="*/ 16299 h 1784802"/>
              <a:gd name="connsiteX0" fmla="*/ 87 w 6862000"/>
              <a:gd name="connsiteY0" fmla="*/ 16299 h 1392382"/>
              <a:gd name="connsiteX1" fmla="*/ 6860521 w 6862000"/>
              <a:gd name="connsiteY1" fmla="*/ 0 h 1392382"/>
              <a:gd name="connsiteX2" fmla="*/ 6862000 w 6862000"/>
              <a:gd name="connsiteY2" fmla="*/ 973457 h 1392382"/>
              <a:gd name="connsiteX3" fmla="*/ 6411272 w 6862000"/>
              <a:gd name="connsiteY3" fmla="*/ 1392382 h 1392382"/>
              <a:gd name="connsiteX4" fmla="*/ 3553 w 6862000"/>
              <a:gd name="connsiteY4" fmla="*/ 1392382 h 1392382"/>
              <a:gd name="connsiteX5" fmla="*/ 87 w 6862000"/>
              <a:gd name="connsiteY5" fmla="*/ 16299 h 1392382"/>
              <a:gd name="connsiteX0" fmla="*/ 87 w 6862000"/>
              <a:gd name="connsiteY0" fmla="*/ 16299 h 1392382"/>
              <a:gd name="connsiteX1" fmla="*/ 6860521 w 6862000"/>
              <a:gd name="connsiteY1" fmla="*/ 0 h 1392382"/>
              <a:gd name="connsiteX2" fmla="*/ 6862000 w 6862000"/>
              <a:gd name="connsiteY2" fmla="*/ 973457 h 1392382"/>
              <a:gd name="connsiteX3" fmla="*/ 6411272 w 6862000"/>
              <a:gd name="connsiteY3" fmla="*/ 1392382 h 1392382"/>
              <a:gd name="connsiteX4" fmla="*/ 31382 w 6862000"/>
              <a:gd name="connsiteY4" fmla="*/ 1392382 h 1392382"/>
              <a:gd name="connsiteX5" fmla="*/ 87 w 6862000"/>
              <a:gd name="connsiteY5" fmla="*/ 16299 h 1392382"/>
              <a:gd name="connsiteX0" fmla="*/ 470625 w 7300732"/>
              <a:gd name="connsiteY0" fmla="*/ 8530 h 1495084"/>
              <a:gd name="connsiteX1" fmla="*/ 7299253 w 7300732"/>
              <a:gd name="connsiteY1" fmla="*/ 182 h 1495084"/>
              <a:gd name="connsiteX2" fmla="*/ 7300732 w 7300732"/>
              <a:gd name="connsiteY2" fmla="*/ 973639 h 1495084"/>
              <a:gd name="connsiteX3" fmla="*/ 6850004 w 7300732"/>
              <a:gd name="connsiteY3" fmla="*/ 1392564 h 1495084"/>
              <a:gd name="connsiteX4" fmla="*/ 470114 w 7300732"/>
              <a:gd name="connsiteY4" fmla="*/ 1392564 h 1495084"/>
              <a:gd name="connsiteX5" fmla="*/ 470625 w 7300732"/>
              <a:gd name="connsiteY5" fmla="*/ 8530 h 1495084"/>
              <a:gd name="connsiteX0" fmla="*/ 470625 w 7300732"/>
              <a:gd name="connsiteY0" fmla="*/ 8530 h 1495084"/>
              <a:gd name="connsiteX1" fmla="*/ 7299253 w 7300732"/>
              <a:gd name="connsiteY1" fmla="*/ 182 h 1495084"/>
              <a:gd name="connsiteX2" fmla="*/ 7300732 w 7300732"/>
              <a:gd name="connsiteY2" fmla="*/ 973639 h 1495084"/>
              <a:gd name="connsiteX3" fmla="*/ 6850004 w 7300732"/>
              <a:gd name="connsiteY3" fmla="*/ 1392564 h 1495084"/>
              <a:gd name="connsiteX4" fmla="*/ 470114 w 7300732"/>
              <a:gd name="connsiteY4" fmla="*/ 1392564 h 1495084"/>
              <a:gd name="connsiteX5" fmla="*/ 470625 w 7300732"/>
              <a:gd name="connsiteY5" fmla="*/ 8530 h 1495084"/>
              <a:gd name="connsiteX0" fmla="*/ 511 w 6830618"/>
              <a:gd name="connsiteY0" fmla="*/ 8530 h 1392564"/>
              <a:gd name="connsiteX1" fmla="*/ 6829139 w 6830618"/>
              <a:gd name="connsiteY1" fmla="*/ 182 h 1392564"/>
              <a:gd name="connsiteX2" fmla="*/ 6830618 w 6830618"/>
              <a:gd name="connsiteY2" fmla="*/ 973639 h 1392564"/>
              <a:gd name="connsiteX3" fmla="*/ 6379890 w 6830618"/>
              <a:gd name="connsiteY3" fmla="*/ 1392564 h 1392564"/>
              <a:gd name="connsiteX4" fmla="*/ 0 w 6830618"/>
              <a:gd name="connsiteY4" fmla="*/ 1392564 h 1392564"/>
              <a:gd name="connsiteX5" fmla="*/ 511 w 6830618"/>
              <a:gd name="connsiteY5" fmla="*/ 8530 h 1392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30618" h="1392564">
                <a:moveTo>
                  <a:pt x="511" y="8530"/>
                </a:moveTo>
                <a:cubicBezTo>
                  <a:pt x="34217" y="-1976"/>
                  <a:pt x="5723085" y="182"/>
                  <a:pt x="6829139" y="182"/>
                </a:cubicBezTo>
                <a:cubicBezTo>
                  <a:pt x="6821840" y="681"/>
                  <a:pt x="6830618" y="741575"/>
                  <a:pt x="6830618" y="973639"/>
                </a:cubicBezTo>
                <a:cubicBezTo>
                  <a:pt x="6818691" y="1352272"/>
                  <a:pt x="6508058" y="1392564"/>
                  <a:pt x="6379890" y="1392564"/>
                </a:cubicBezTo>
                <a:lnTo>
                  <a:pt x="0" y="1392564"/>
                </a:lnTo>
                <a:cubicBezTo>
                  <a:pt x="2245" y="1392480"/>
                  <a:pt x="10904" y="-1861"/>
                  <a:pt x="511" y="853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aphicFrame>
        <p:nvGraphicFramePr>
          <p:cNvPr id="4" name="Object 3" hidden="1">
            <a:extLst>
              <a:ext uri="{FF2B5EF4-FFF2-40B4-BE49-F238E27FC236}">
                <a16:creationId xmlns:a16="http://schemas.microsoft.com/office/drawing/2014/main" id="{3F45C80D-1119-4232-8939-1F841342B49C}"/>
              </a:ext>
            </a:extLst>
          </p:cNvPr>
          <p:cNvGraphicFramePr>
            <a:graphicFrameLocks noChangeAspect="1"/>
          </p:cNvGraphicFramePr>
          <p:nvPr userDrawn="1">
            <p:custDataLst>
              <p:tags r:id="rId1"/>
            </p:custDataLst>
            <p:extLst>
              <p:ext uri="{D42A27DB-BD31-4B8C-83A1-F6EECF244321}">
                <p14:modId xmlns:p14="http://schemas.microsoft.com/office/powerpoint/2010/main" val="3467496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4" name="Object 3" hidden="1">
                        <a:extLst>
                          <a:ext uri="{FF2B5EF4-FFF2-40B4-BE49-F238E27FC236}">
                            <a16:creationId xmlns:a16="http://schemas.microsoft.com/office/drawing/2014/main" id="{3F45C80D-1119-4232-8939-1F841342B4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ubtitle 2"/>
          <p:cNvSpPr>
            <a:spLocks noGrp="1"/>
          </p:cNvSpPr>
          <p:nvPr>
            <p:ph type="subTitle" idx="1" hasCustomPrompt="1"/>
          </p:nvPr>
        </p:nvSpPr>
        <p:spPr>
          <a:xfrm>
            <a:off x="880534" y="698305"/>
            <a:ext cx="6916737" cy="580684"/>
          </a:xfrm>
          <a:prstGeom prst="rect">
            <a:avLst/>
          </a:prstGeom>
        </p:spPr>
        <p:txBody>
          <a:bodyPr>
            <a:normAutofit/>
          </a:bodyPr>
          <a:lstStyle>
            <a:lvl1pPr marL="0" indent="0" algn="l">
              <a:lnSpc>
                <a:spcPct val="112000"/>
              </a:lnSpc>
              <a:spcBef>
                <a:spcPts val="0"/>
              </a:spcBef>
              <a:spcAft>
                <a:spcPts val="0"/>
              </a:spcAft>
              <a:buNone/>
              <a:defRPr sz="2800">
                <a:solidFill>
                  <a:srgbClr val="1D5886"/>
                </a:solidFill>
                <a:latin typeface="Barlow Medium" panose="00000600000000000000" pitchFamily="2" charset="0"/>
                <a:ea typeface="Roboto Slab Medium"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Titel]</a:t>
            </a:r>
          </a:p>
        </p:txBody>
      </p:sp>
      <p:sp>
        <p:nvSpPr>
          <p:cNvPr id="5" name="Tijdelijke aanduiding voor tekst 4">
            <a:extLst>
              <a:ext uri="{FF2B5EF4-FFF2-40B4-BE49-F238E27FC236}">
                <a16:creationId xmlns:a16="http://schemas.microsoft.com/office/drawing/2014/main" id="{94F1CF18-6D0F-01B6-D98B-90A98732D470}"/>
              </a:ext>
            </a:extLst>
          </p:cNvPr>
          <p:cNvSpPr>
            <a:spLocks noGrp="1"/>
          </p:cNvSpPr>
          <p:nvPr>
            <p:ph type="body" sz="quarter" idx="10" hasCustomPrompt="1"/>
          </p:nvPr>
        </p:nvSpPr>
        <p:spPr>
          <a:xfrm>
            <a:off x="880534" y="1177612"/>
            <a:ext cx="6916737" cy="466160"/>
          </a:xfrm>
          <a:prstGeom prst="rect">
            <a:avLst/>
          </a:prstGeom>
        </p:spPr>
        <p:txBody>
          <a:bodyPr/>
          <a:lstStyle>
            <a:lvl1pPr marL="0" indent="0">
              <a:buNone/>
              <a:defRPr>
                <a:solidFill>
                  <a:srgbClr val="1D3B4E"/>
                </a:solidFill>
                <a:latin typeface="Barlow" panose="00000500000000000000" pitchFamily="2" charset="0"/>
              </a:defRPr>
            </a:lvl1pPr>
            <a:lvl2pPr marL="530352" indent="0">
              <a:buNone/>
              <a:defRPr/>
            </a:lvl2pPr>
          </a:lstStyle>
          <a:p>
            <a:pPr lvl="0"/>
            <a:r>
              <a:rPr lang="nl-NL"/>
              <a:t>[Evt. ondertitel]</a:t>
            </a:r>
          </a:p>
        </p:txBody>
      </p:sp>
      <p:sp>
        <p:nvSpPr>
          <p:cNvPr id="13" name="Tijdelijke aanduiding voor tekst 12">
            <a:extLst>
              <a:ext uri="{FF2B5EF4-FFF2-40B4-BE49-F238E27FC236}">
                <a16:creationId xmlns:a16="http://schemas.microsoft.com/office/drawing/2014/main" id="{13961C34-AE95-2974-5B67-32D630656B31}"/>
              </a:ext>
            </a:extLst>
          </p:cNvPr>
          <p:cNvSpPr>
            <a:spLocks noGrp="1"/>
          </p:cNvSpPr>
          <p:nvPr>
            <p:ph type="body" sz="quarter" idx="13" hasCustomPrompt="1"/>
          </p:nvPr>
        </p:nvSpPr>
        <p:spPr>
          <a:xfrm>
            <a:off x="880534" y="5006595"/>
            <a:ext cx="3648974" cy="359585"/>
          </a:xfrm>
          <a:prstGeom prst="rect">
            <a:avLst/>
          </a:prstGeom>
        </p:spPr>
        <p:txBody>
          <a:bodyPr>
            <a:normAutofit/>
          </a:bodyPr>
          <a:lstStyle>
            <a:lvl1pPr marL="0" indent="0">
              <a:buNone/>
              <a:defRPr sz="1600" b="1"/>
            </a:lvl1pPr>
          </a:lstStyle>
          <a:p>
            <a:pPr lvl="0"/>
            <a:r>
              <a:rPr lang="nl-NL"/>
              <a:t>[Naam spreker]</a:t>
            </a:r>
          </a:p>
        </p:txBody>
      </p:sp>
      <p:sp>
        <p:nvSpPr>
          <p:cNvPr id="15" name="Tijdelijke aanduiding voor tekst 14">
            <a:extLst>
              <a:ext uri="{FF2B5EF4-FFF2-40B4-BE49-F238E27FC236}">
                <a16:creationId xmlns:a16="http://schemas.microsoft.com/office/drawing/2014/main" id="{808054D0-1CAE-DA89-F90F-7A2D2A57C74E}"/>
              </a:ext>
            </a:extLst>
          </p:cNvPr>
          <p:cNvSpPr>
            <a:spLocks noGrp="1"/>
          </p:cNvSpPr>
          <p:nvPr>
            <p:ph type="body" sz="quarter" idx="14" hasCustomPrompt="1"/>
          </p:nvPr>
        </p:nvSpPr>
        <p:spPr>
          <a:xfrm>
            <a:off x="880534" y="5316848"/>
            <a:ext cx="3649663" cy="312738"/>
          </a:xfrm>
          <a:prstGeom prst="rect">
            <a:avLst/>
          </a:prstGeom>
        </p:spPr>
        <p:txBody>
          <a:bodyPr>
            <a:noAutofit/>
          </a:bodyPr>
          <a:lstStyle>
            <a:lvl1pPr marL="0" indent="0">
              <a:buNone/>
              <a:defRPr sz="1600">
                <a:solidFill>
                  <a:srgbClr val="1D3B4E"/>
                </a:solidFill>
                <a:latin typeface="Barlow" panose="00000500000000000000" pitchFamily="2" charset="0"/>
              </a:defRPr>
            </a:lvl1pPr>
          </a:lstStyle>
          <a:p>
            <a:pPr lvl="0"/>
            <a:r>
              <a:rPr lang="nl-NL"/>
              <a:t>[functie]</a:t>
            </a:r>
          </a:p>
        </p:txBody>
      </p:sp>
      <p:sp>
        <p:nvSpPr>
          <p:cNvPr id="17" name="Tijdelijke aanduiding voor tekst 16">
            <a:extLst>
              <a:ext uri="{FF2B5EF4-FFF2-40B4-BE49-F238E27FC236}">
                <a16:creationId xmlns:a16="http://schemas.microsoft.com/office/drawing/2014/main" id="{EC5305DD-6345-2BF0-4D13-882839029D43}"/>
              </a:ext>
            </a:extLst>
          </p:cNvPr>
          <p:cNvSpPr>
            <a:spLocks noGrp="1"/>
          </p:cNvSpPr>
          <p:nvPr>
            <p:ph type="body" sz="quarter" idx="15" hasCustomPrompt="1"/>
          </p:nvPr>
        </p:nvSpPr>
        <p:spPr>
          <a:xfrm>
            <a:off x="880534" y="1589242"/>
            <a:ext cx="3649663" cy="312738"/>
          </a:xfrm>
          <a:prstGeom prst="rect">
            <a:avLst/>
          </a:prstGeom>
        </p:spPr>
        <p:txBody>
          <a:bodyPr>
            <a:noAutofit/>
          </a:bodyPr>
          <a:lstStyle>
            <a:lvl1pPr marL="0" indent="0">
              <a:buNone/>
              <a:defRPr sz="1200" i="1">
                <a:solidFill>
                  <a:srgbClr val="0063A4"/>
                </a:solidFill>
                <a:latin typeface="Barlow Light" panose="00000400000000000000" pitchFamily="2" charset="0"/>
              </a:defRPr>
            </a:lvl1pPr>
          </a:lstStyle>
          <a:p>
            <a:pPr lvl="0"/>
            <a:r>
              <a:rPr lang="nl-NL"/>
              <a:t>[Datum | Plaats]</a:t>
            </a:r>
          </a:p>
        </p:txBody>
      </p:sp>
      <p:cxnSp>
        <p:nvCxnSpPr>
          <p:cNvPr id="9" name="Rechte verbindingslijn 8">
            <a:extLst>
              <a:ext uri="{FF2B5EF4-FFF2-40B4-BE49-F238E27FC236}">
                <a16:creationId xmlns:a16="http://schemas.microsoft.com/office/drawing/2014/main" id="{5ACF4D1C-F485-493D-C2D7-72762994E5FA}"/>
              </a:ext>
            </a:extLst>
          </p:cNvPr>
          <p:cNvCxnSpPr>
            <a:cxnSpLocks/>
          </p:cNvCxnSpPr>
          <p:nvPr userDrawn="1"/>
        </p:nvCxnSpPr>
        <p:spPr>
          <a:xfrm flipV="1">
            <a:off x="829735" y="698305"/>
            <a:ext cx="0" cy="1203675"/>
          </a:xfrm>
          <a:prstGeom prst="line">
            <a:avLst/>
          </a:prstGeom>
          <a:ln w="12700">
            <a:solidFill>
              <a:srgbClr val="65B2E8"/>
            </a:solidFill>
          </a:ln>
        </p:spPr>
        <p:style>
          <a:lnRef idx="1">
            <a:schemeClr val="accent1"/>
          </a:lnRef>
          <a:fillRef idx="0">
            <a:schemeClr val="accent1"/>
          </a:fillRef>
          <a:effectRef idx="0">
            <a:schemeClr val="accent1"/>
          </a:effectRef>
          <a:fontRef idx="minor">
            <a:schemeClr val="tx1"/>
          </a:fontRef>
        </p:style>
      </p:cxnSp>
      <p:pic>
        <p:nvPicPr>
          <p:cNvPr id="7" name="Afbeelding 6">
            <a:extLst>
              <a:ext uri="{FF2B5EF4-FFF2-40B4-BE49-F238E27FC236}">
                <a16:creationId xmlns:a16="http://schemas.microsoft.com/office/drawing/2014/main" id="{0760C8CA-DAB2-9B58-1F42-30B90BD8C557}"/>
              </a:ext>
            </a:extLst>
          </p:cNvPr>
          <p:cNvPicPr>
            <a:picLocks noChangeAspect="1"/>
          </p:cNvPicPr>
          <p:nvPr userDrawn="1"/>
        </p:nvPicPr>
        <p:blipFill>
          <a:blip r:embed="rId5"/>
          <a:srcRect/>
          <a:stretch/>
        </p:blipFill>
        <p:spPr>
          <a:xfrm>
            <a:off x="4420833" y="5975808"/>
            <a:ext cx="3520462" cy="710136"/>
          </a:xfrm>
          <a:prstGeom prst="rect">
            <a:avLst/>
          </a:prstGeom>
        </p:spPr>
      </p:pic>
      <p:sp>
        <p:nvSpPr>
          <p:cNvPr id="8" name="Rechthoek: afgeronde hoeken 5">
            <a:extLst>
              <a:ext uri="{FF2B5EF4-FFF2-40B4-BE49-F238E27FC236}">
                <a16:creationId xmlns:a16="http://schemas.microsoft.com/office/drawing/2014/main" id="{4FE13D64-2BE6-7595-AB64-D1818F765DC0}"/>
              </a:ext>
            </a:extLst>
          </p:cNvPr>
          <p:cNvSpPr/>
          <p:nvPr userDrawn="1"/>
        </p:nvSpPr>
        <p:spPr>
          <a:xfrm>
            <a:off x="-87782" y="-58522"/>
            <a:ext cx="11824117" cy="5868000"/>
          </a:xfrm>
          <a:custGeom>
            <a:avLst/>
            <a:gdLst>
              <a:gd name="connsiteX0" fmla="*/ 0 w 11730969"/>
              <a:gd name="connsiteY0" fmla="*/ 970299 h 5821680"/>
              <a:gd name="connsiteX1" fmla="*/ 970299 w 11730969"/>
              <a:gd name="connsiteY1" fmla="*/ 0 h 5821680"/>
              <a:gd name="connsiteX2" fmla="*/ 10760670 w 11730969"/>
              <a:gd name="connsiteY2" fmla="*/ 0 h 5821680"/>
              <a:gd name="connsiteX3" fmla="*/ 11730969 w 11730969"/>
              <a:gd name="connsiteY3" fmla="*/ 970299 h 5821680"/>
              <a:gd name="connsiteX4" fmla="*/ 11730969 w 11730969"/>
              <a:gd name="connsiteY4" fmla="*/ 4851381 h 5821680"/>
              <a:gd name="connsiteX5" fmla="*/ 10760670 w 11730969"/>
              <a:gd name="connsiteY5" fmla="*/ 5821680 h 5821680"/>
              <a:gd name="connsiteX6" fmla="*/ 970299 w 11730969"/>
              <a:gd name="connsiteY6" fmla="*/ 5821680 h 5821680"/>
              <a:gd name="connsiteX7" fmla="*/ 0 w 11730969"/>
              <a:gd name="connsiteY7" fmla="*/ 4851381 h 5821680"/>
              <a:gd name="connsiteX8" fmla="*/ 0 w 11730969"/>
              <a:gd name="connsiteY8" fmla="*/ 970299 h 5821680"/>
              <a:gd name="connsiteX0" fmla="*/ 0 w 11730969"/>
              <a:gd name="connsiteY0" fmla="*/ 970299 h 5821680"/>
              <a:gd name="connsiteX1" fmla="*/ 970299 w 11730969"/>
              <a:gd name="connsiteY1" fmla="*/ 0 h 5821680"/>
              <a:gd name="connsiteX2" fmla="*/ 11730969 w 11730969"/>
              <a:gd name="connsiteY2" fmla="*/ 970299 h 5821680"/>
              <a:gd name="connsiteX3" fmla="*/ 11730969 w 11730969"/>
              <a:gd name="connsiteY3" fmla="*/ 4851381 h 5821680"/>
              <a:gd name="connsiteX4" fmla="*/ 10760670 w 11730969"/>
              <a:gd name="connsiteY4" fmla="*/ 5821680 h 5821680"/>
              <a:gd name="connsiteX5" fmla="*/ 970299 w 11730969"/>
              <a:gd name="connsiteY5" fmla="*/ 5821680 h 5821680"/>
              <a:gd name="connsiteX6" fmla="*/ 0 w 11730969"/>
              <a:gd name="connsiteY6" fmla="*/ 4851381 h 5821680"/>
              <a:gd name="connsiteX7" fmla="*/ 0 w 11730969"/>
              <a:gd name="connsiteY7" fmla="*/ 970299 h 5821680"/>
              <a:gd name="connsiteX0" fmla="*/ 0 w 11730969"/>
              <a:gd name="connsiteY0" fmla="*/ 970299 h 5821680"/>
              <a:gd name="connsiteX1" fmla="*/ 970299 w 11730969"/>
              <a:gd name="connsiteY1" fmla="*/ 0 h 5821680"/>
              <a:gd name="connsiteX2" fmla="*/ 11723349 w 11730969"/>
              <a:gd name="connsiteY2" fmla="*/ 2559 h 5821680"/>
              <a:gd name="connsiteX3" fmla="*/ 11730969 w 11730969"/>
              <a:gd name="connsiteY3" fmla="*/ 4851381 h 5821680"/>
              <a:gd name="connsiteX4" fmla="*/ 10760670 w 11730969"/>
              <a:gd name="connsiteY4" fmla="*/ 5821680 h 5821680"/>
              <a:gd name="connsiteX5" fmla="*/ 970299 w 11730969"/>
              <a:gd name="connsiteY5" fmla="*/ 5821680 h 5821680"/>
              <a:gd name="connsiteX6" fmla="*/ 0 w 11730969"/>
              <a:gd name="connsiteY6" fmla="*/ 4851381 h 5821680"/>
              <a:gd name="connsiteX7" fmla="*/ 0 w 11730969"/>
              <a:gd name="connsiteY7" fmla="*/ 970299 h 5821680"/>
              <a:gd name="connsiteX0" fmla="*/ 0 w 11730969"/>
              <a:gd name="connsiteY0" fmla="*/ 4851381 h 5821680"/>
              <a:gd name="connsiteX1" fmla="*/ 970299 w 11730969"/>
              <a:gd name="connsiteY1" fmla="*/ 0 h 5821680"/>
              <a:gd name="connsiteX2" fmla="*/ 11723349 w 11730969"/>
              <a:gd name="connsiteY2" fmla="*/ 2559 h 5821680"/>
              <a:gd name="connsiteX3" fmla="*/ 11730969 w 11730969"/>
              <a:gd name="connsiteY3" fmla="*/ 4851381 h 5821680"/>
              <a:gd name="connsiteX4" fmla="*/ 10760670 w 11730969"/>
              <a:gd name="connsiteY4" fmla="*/ 5821680 h 5821680"/>
              <a:gd name="connsiteX5" fmla="*/ 970299 w 11730969"/>
              <a:gd name="connsiteY5" fmla="*/ 5821680 h 5821680"/>
              <a:gd name="connsiteX6" fmla="*/ 0 w 11730969"/>
              <a:gd name="connsiteY6" fmla="*/ 4851381 h 5821680"/>
              <a:gd name="connsiteX0" fmla="*/ 0 w 11730969"/>
              <a:gd name="connsiteY0" fmla="*/ 4859001 h 5829300"/>
              <a:gd name="connsiteX1" fmla="*/ 2559 w 11730969"/>
              <a:gd name="connsiteY1" fmla="*/ 0 h 5829300"/>
              <a:gd name="connsiteX2" fmla="*/ 11723349 w 11730969"/>
              <a:gd name="connsiteY2" fmla="*/ 10179 h 5829300"/>
              <a:gd name="connsiteX3" fmla="*/ 11730969 w 11730969"/>
              <a:gd name="connsiteY3" fmla="*/ 4859001 h 5829300"/>
              <a:gd name="connsiteX4" fmla="*/ 10760670 w 11730969"/>
              <a:gd name="connsiteY4" fmla="*/ 5829300 h 5829300"/>
              <a:gd name="connsiteX5" fmla="*/ 970299 w 11730969"/>
              <a:gd name="connsiteY5" fmla="*/ 5829300 h 5829300"/>
              <a:gd name="connsiteX6" fmla="*/ 0 w 11730969"/>
              <a:gd name="connsiteY6" fmla="*/ 4859001 h 5829300"/>
              <a:gd name="connsiteX0" fmla="*/ 1921896 w 12682566"/>
              <a:gd name="connsiteY0" fmla="*/ 5829300 h 5829300"/>
              <a:gd name="connsiteX1" fmla="*/ 954156 w 12682566"/>
              <a:gd name="connsiteY1" fmla="*/ 0 h 5829300"/>
              <a:gd name="connsiteX2" fmla="*/ 12674946 w 12682566"/>
              <a:gd name="connsiteY2" fmla="*/ 10179 h 5829300"/>
              <a:gd name="connsiteX3" fmla="*/ 12682566 w 12682566"/>
              <a:gd name="connsiteY3" fmla="*/ 4859001 h 5829300"/>
              <a:gd name="connsiteX4" fmla="*/ 11712267 w 12682566"/>
              <a:gd name="connsiteY4" fmla="*/ 5829300 h 5829300"/>
              <a:gd name="connsiteX5" fmla="*/ 1921896 w 12682566"/>
              <a:gd name="connsiteY5" fmla="*/ 5829300 h 5829300"/>
              <a:gd name="connsiteX0" fmla="*/ 1336853 w 13080503"/>
              <a:gd name="connsiteY0" fmla="*/ 5814060 h 5829300"/>
              <a:gd name="connsiteX1" fmla="*/ 1352093 w 13080503"/>
              <a:gd name="connsiteY1" fmla="*/ 0 h 5829300"/>
              <a:gd name="connsiteX2" fmla="*/ 13072883 w 13080503"/>
              <a:gd name="connsiteY2" fmla="*/ 10179 h 5829300"/>
              <a:gd name="connsiteX3" fmla="*/ 13080503 w 13080503"/>
              <a:gd name="connsiteY3" fmla="*/ 4859001 h 5829300"/>
              <a:gd name="connsiteX4" fmla="*/ 12110204 w 13080503"/>
              <a:gd name="connsiteY4" fmla="*/ 5829300 h 5829300"/>
              <a:gd name="connsiteX5" fmla="*/ 1336853 w 13080503"/>
              <a:gd name="connsiteY5" fmla="*/ 5814060 h 5829300"/>
              <a:gd name="connsiteX0" fmla="*/ 778979 w 12522629"/>
              <a:gd name="connsiteY0" fmla="*/ 5814060 h 5829300"/>
              <a:gd name="connsiteX1" fmla="*/ 794219 w 12522629"/>
              <a:gd name="connsiteY1" fmla="*/ 0 h 5829300"/>
              <a:gd name="connsiteX2" fmla="*/ 12515009 w 12522629"/>
              <a:gd name="connsiteY2" fmla="*/ 10179 h 5829300"/>
              <a:gd name="connsiteX3" fmla="*/ 12522629 w 12522629"/>
              <a:gd name="connsiteY3" fmla="*/ 4859001 h 5829300"/>
              <a:gd name="connsiteX4" fmla="*/ 11552330 w 12522629"/>
              <a:gd name="connsiteY4" fmla="*/ 5829300 h 5829300"/>
              <a:gd name="connsiteX5" fmla="*/ 778979 w 12522629"/>
              <a:gd name="connsiteY5" fmla="*/ 5814060 h 5829300"/>
              <a:gd name="connsiteX0" fmla="*/ 0 w 11743650"/>
              <a:gd name="connsiteY0" fmla="*/ 5814060 h 5829300"/>
              <a:gd name="connsiteX1" fmla="*/ 15240 w 11743650"/>
              <a:gd name="connsiteY1" fmla="*/ 0 h 5829300"/>
              <a:gd name="connsiteX2" fmla="*/ 11736030 w 11743650"/>
              <a:gd name="connsiteY2" fmla="*/ 10179 h 5829300"/>
              <a:gd name="connsiteX3" fmla="*/ 11743650 w 11743650"/>
              <a:gd name="connsiteY3" fmla="*/ 4859001 h 5829300"/>
              <a:gd name="connsiteX4" fmla="*/ 10773351 w 11743650"/>
              <a:gd name="connsiteY4" fmla="*/ 5829300 h 5829300"/>
              <a:gd name="connsiteX5" fmla="*/ 0 w 11743650"/>
              <a:gd name="connsiteY5" fmla="*/ 5814060 h 582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43650" h="5829300">
                <a:moveTo>
                  <a:pt x="0" y="5814060"/>
                </a:moveTo>
                <a:cubicBezTo>
                  <a:pt x="28161" y="5802630"/>
                  <a:pt x="13765" y="40213"/>
                  <a:pt x="15240" y="0"/>
                </a:cubicBezTo>
                <a:lnTo>
                  <a:pt x="11736030" y="10179"/>
                </a:lnTo>
                <a:lnTo>
                  <a:pt x="11743650" y="4859001"/>
                </a:lnTo>
                <a:cubicBezTo>
                  <a:pt x="11743650" y="5394882"/>
                  <a:pt x="11309232" y="5829300"/>
                  <a:pt x="10773351" y="5829300"/>
                </a:cubicBezTo>
                <a:lnTo>
                  <a:pt x="0" y="5814060"/>
                </a:lnTo>
                <a:close/>
              </a:path>
            </a:pathLst>
          </a:custGeom>
          <a:blipFill>
            <a:blip r:embed="rId6">
              <a:alphaModFix amt="28000"/>
            </a:blip>
            <a:stretch>
              <a:fillRect l="-845" t="-13329" r="-845" b="-6303"/>
            </a:stretch>
          </a:blipFill>
          <a:ln w="3175">
            <a:solidFill>
              <a:srgbClr val="6DAE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5297013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dia">
    <p:bg>
      <p:bgPr>
        <a:solidFill>
          <a:schemeClr val="bg1"/>
        </a:solidFill>
        <a:effectLst/>
      </p:bgPr>
    </p:bg>
    <p:spTree>
      <p:nvGrpSpPr>
        <p:cNvPr id="1" name=""/>
        <p:cNvGrpSpPr/>
        <p:nvPr/>
      </p:nvGrpSpPr>
      <p:grpSpPr>
        <a:xfrm>
          <a:off x="0" y="0"/>
          <a:ext cx="0" cy="0"/>
          <a:chOff x="0" y="0"/>
          <a:chExt cx="0" cy="0"/>
        </a:xfrm>
      </p:grpSpPr>
      <p:sp>
        <p:nvSpPr>
          <p:cNvPr id="6" name="Rechthoek: afgeronde hoeken 5">
            <a:extLst>
              <a:ext uri="{FF2B5EF4-FFF2-40B4-BE49-F238E27FC236}">
                <a16:creationId xmlns:a16="http://schemas.microsoft.com/office/drawing/2014/main" id="{5160B9BC-76C8-B52E-9F20-7B0FBCBC4011}"/>
              </a:ext>
            </a:extLst>
          </p:cNvPr>
          <p:cNvSpPr/>
          <p:nvPr userDrawn="1"/>
        </p:nvSpPr>
        <p:spPr>
          <a:xfrm>
            <a:off x="-87782" y="-58522"/>
            <a:ext cx="11824117" cy="5887822"/>
          </a:xfrm>
          <a:custGeom>
            <a:avLst/>
            <a:gdLst>
              <a:gd name="connsiteX0" fmla="*/ 0 w 11730969"/>
              <a:gd name="connsiteY0" fmla="*/ 970299 h 5821680"/>
              <a:gd name="connsiteX1" fmla="*/ 970299 w 11730969"/>
              <a:gd name="connsiteY1" fmla="*/ 0 h 5821680"/>
              <a:gd name="connsiteX2" fmla="*/ 10760670 w 11730969"/>
              <a:gd name="connsiteY2" fmla="*/ 0 h 5821680"/>
              <a:gd name="connsiteX3" fmla="*/ 11730969 w 11730969"/>
              <a:gd name="connsiteY3" fmla="*/ 970299 h 5821680"/>
              <a:gd name="connsiteX4" fmla="*/ 11730969 w 11730969"/>
              <a:gd name="connsiteY4" fmla="*/ 4851381 h 5821680"/>
              <a:gd name="connsiteX5" fmla="*/ 10760670 w 11730969"/>
              <a:gd name="connsiteY5" fmla="*/ 5821680 h 5821680"/>
              <a:gd name="connsiteX6" fmla="*/ 970299 w 11730969"/>
              <a:gd name="connsiteY6" fmla="*/ 5821680 h 5821680"/>
              <a:gd name="connsiteX7" fmla="*/ 0 w 11730969"/>
              <a:gd name="connsiteY7" fmla="*/ 4851381 h 5821680"/>
              <a:gd name="connsiteX8" fmla="*/ 0 w 11730969"/>
              <a:gd name="connsiteY8" fmla="*/ 970299 h 5821680"/>
              <a:gd name="connsiteX0" fmla="*/ 0 w 11730969"/>
              <a:gd name="connsiteY0" fmla="*/ 970299 h 5821680"/>
              <a:gd name="connsiteX1" fmla="*/ 970299 w 11730969"/>
              <a:gd name="connsiteY1" fmla="*/ 0 h 5821680"/>
              <a:gd name="connsiteX2" fmla="*/ 11730969 w 11730969"/>
              <a:gd name="connsiteY2" fmla="*/ 970299 h 5821680"/>
              <a:gd name="connsiteX3" fmla="*/ 11730969 w 11730969"/>
              <a:gd name="connsiteY3" fmla="*/ 4851381 h 5821680"/>
              <a:gd name="connsiteX4" fmla="*/ 10760670 w 11730969"/>
              <a:gd name="connsiteY4" fmla="*/ 5821680 h 5821680"/>
              <a:gd name="connsiteX5" fmla="*/ 970299 w 11730969"/>
              <a:gd name="connsiteY5" fmla="*/ 5821680 h 5821680"/>
              <a:gd name="connsiteX6" fmla="*/ 0 w 11730969"/>
              <a:gd name="connsiteY6" fmla="*/ 4851381 h 5821680"/>
              <a:gd name="connsiteX7" fmla="*/ 0 w 11730969"/>
              <a:gd name="connsiteY7" fmla="*/ 970299 h 5821680"/>
              <a:gd name="connsiteX0" fmla="*/ 0 w 11730969"/>
              <a:gd name="connsiteY0" fmla="*/ 970299 h 5821680"/>
              <a:gd name="connsiteX1" fmla="*/ 970299 w 11730969"/>
              <a:gd name="connsiteY1" fmla="*/ 0 h 5821680"/>
              <a:gd name="connsiteX2" fmla="*/ 11723349 w 11730969"/>
              <a:gd name="connsiteY2" fmla="*/ 2559 h 5821680"/>
              <a:gd name="connsiteX3" fmla="*/ 11730969 w 11730969"/>
              <a:gd name="connsiteY3" fmla="*/ 4851381 h 5821680"/>
              <a:gd name="connsiteX4" fmla="*/ 10760670 w 11730969"/>
              <a:gd name="connsiteY4" fmla="*/ 5821680 h 5821680"/>
              <a:gd name="connsiteX5" fmla="*/ 970299 w 11730969"/>
              <a:gd name="connsiteY5" fmla="*/ 5821680 h 5821680"/>
              <a:gd name="connsiteX6" fmla="*/ 0 w 11730969"/>
              <a:gd name="connsiteY6" fmla="*/ 4851381 h 5821680"/>
              <a:gd name="connsiteX7" fmla="*/ 0 w 11730969"/>
              <a:gd name="connsiteY7" fmla="*/ 970299 h 5821680"/>
              <a:gd name="connsiteX0" fmla="*/ 0 w 11730969"/>
              <a:gd name="connsiteY0" fmla="*/ 4851381 h 5821680"/>
              <a:gd name="connsiteX1" fmla="*/ 970299 w 11730969"/>
              <a:gd name="connsiteY1" fmla="*/ 0 h 5821680"/>
              <a:gd name="connsiteX2" fmla="*/ 11723349 w 11730969"/>
              <a:gd name="connsiteY2" fmla="*/ 2559 h 5821680"/>
              <a:gd name="connsiteX3" fmla="*/ 11730969 w 11730969"/>
              <a:gd name="connsiteY3" fmla="*/ 4851381 h 5821680"/>
              <a:gd name="connsiteX4" fmla="*/ 10760670 w 11730969"/>
              <a:gd name="connsiteY4" fmla="*/ 5821680 h 5821680"/>
              <a:gd name="connsiteX5" fmla="*/ 970299 w 11730969"/>
              <a:gd name="connsiteY5" fmla="*/ 5821680 h 5821680"/>
              <a:gd name="connsiteX6" fmla="*/ 0 w 11730969"/>
              <a:gd name="connsiteY6" fmla="*/ 4851381 h 5821680"/>
              <a:gd name="connsiteX0" fmla="*/ 0 w 11730969"/>
              <a:gd name="connsiteY0" fmla="*/ 4859001 h 5829300"/>
              <a:gd name="connsiteX1" fmla="*/ 2559 w 11730969"/>
              <a:gd name="connsiteY1" fmla="*/ 0 h 5829300"/>
              <a:gd name="connsiteX2" fmla="*/ 11723349 w 11730969"/>
              <a:gd name="connsiteY2" fmla="*/ 10179 h 5829300"/>
              <a:gd name="connsiteX3" fmla="*/ 11730969 w 11730969"/>
              <a:gd name="connsiteY3" fmla="*/ 4859001 h 5829300"/>
              <a:gd name="connsiteX4" fmla="*/ 10760670 w 11730969"/>
              <a:gd name="connsiteY4" fmla="*/ 5829300 h 5829300"/>
              <a:gd name="connsiteX5" fmla="*/ 970299 w 11730969"/>
              <a:gd name="connsiteY5" fmla="*/ 5829300 h 5829300"/>
              <a:gd name="connsiteX6" fmla="*/ 0 w 11730969"/>
              <a:gd name="connsiteY6" fmla="*/ 4859001 h 5829300"/>
              <a:gd name="connsiteX0" fmla="*/ 1921896 w 12682566"/>
              <a:gd name="connsiteY0" fmla="*/ 5829300 h 5829300"/>
              <a:gd name="connsiteX1" fmla="*/ 954156 w 12682566"/>
              <a:gd name="connsiteY1" fmla="*/ 0 h 5829300"/>
              <a:gd name="connsiteX2" fmla="*/ 12674946 w 12682566"/>
              <a:gd name="connsiteY2" fmla="*/ 10179 h 5829300"/>
              <a:gd name="connsiteX3" fmla="*/ 12682566 w 12682566"/>
              <a:gd name="connsiteY3" fmla="*/ 4859001 h 5829300"/>
              <a:gd name="connsiteX4" fmla="*/ 11712267 w 12682566"/>
              <a:gd name="connsiteY4" fmla="*/ 5829300 h 5829300"/>
              <a:gd name="connsiteX5" fmla="*/ 1921896 w 12682566"/>
              <a:gd name="connsiteY5" fmla="*/ 5829300 h 5829300"/>
              <a:gd name="connsiteX0" fmla="*/ 1336853 w 13080503"/>
              <a:gd name="connsiteY0" fmla="*/ 5814060 h 5829300"/>
              <a:gd name="connsiteX1" fmla="*/ 1352093 w 13080503"/>
              <a:gd name="connsiteY1" fmla="*/ 0 h 5829300"/>
              <a:gd name="connsiteX2" fmla="*/ 13072883 w 13080503"/>
              <a:gd name="connsiteY2" fmla="*/ 10179 h 5829300"/>
              <a:gd name="connsiteX3" fmla="*/ 13080503 w 13080503"/>
              <a:gd name="connsiteY3" fmla="*/ 4859001 h 5829300"/>
              <a:gd name="connsiteX4" fmla="*/ 12110204 w 13080503"/>
              <a:gd name="connsiteY4" fmla="*/ 5829300 h 5829300"/>
              <a:gd name="connsiteX5" fmla="*/ 1336853 w 13080503"/>
              <a:gd name="connsiteY5" fmla="*/ 5814060 h 5829300"/>
              <a:gd name="connsiteX0" fmla="*/ 778979 w 12522629"/>
              <a:gd name="connsiteY0" fmla="*/ 5814060 h 5829300"/>
              <a:gd name="connsiteX1" fmla="*/ 794219 w 12522629"/>
              <a:gd name="connsiteY1" fmla="*/ 0 h 5829300"/>
              <a:gd name="connsiteX2" fmla="*/ 12515009 w 12522629"/>
              <a:gd name="connsiteY2" fmla="*/ 10179 h 5829300"/>
              <a:gd name="connsiteX3" fmla="*/ 12522629 w 12522629"/>
              <a:gd name="connsiteY3" fmla="*/ 4859001 h 5829300"/>
              <a:gd name="connsiteX4" fmla="*/ 11552330 w 12522629"/>
              <a:gd name="connsiteY4" fmla="*/ 5829300 h 5829300"/>
              <a:gd name="connsiteX5" fmla="*/ 778979 w 12522629"/>
              <a:gd name="connsiteY5" fmla="*/ 5814060 h 5829300"/>
              <a:gd name="connsiteX0" fmla="*/ 0 w 11743650"/>
              <a:gd name="connsiteY0" fmla="*/ 5814060 h 5829300"/>
              <a:gd name="connsiteX1" fmla="*/ 15240 w 11743650"/>
              <a:gd name="connsiteY1" fmla="*/ 0 h 5829300"/>
              <a:gd name="connsiteX2" fmla="*/ 11736030 w 11743650"/>
              <a:gd name="connsiteY2" fmla="*/ 10179 h 5829300"/>
              <a:gd name="connsiteX3" fmla="*/ 11743650 w 11743650"/>
              <a:gd name="connsiteY3" fmla="*/ 4859001 h 5829300"/>
              <a:gd name="connsiteX4" fmla="*/ 10773351 w 11743650"/>
              <a:gd name="connsiteY4" fmla="*/ 5829300 h 5829300"/>
              <a:gd name="connsiteX5" fmla="*/ 0 w 11743650"/>
              <a:gd name="connsiteY5" fmla="*/ 5814060 h 582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43650" h="5829300">
                <a:moveTo>
                  <a:pt x="0" y="5814060"/>
                </a:moveTo>
                <a:cubicBezTo>
                  <a:pt x="28161" y="5802630"/>
                  <a:pt x="13765" y="40213"/>
                  <a:pt x="15240" y="0"/>
                </a:cubicBezTo>
                <a:lnTo>
                  <a:pt x="11736030" y="10179"/>
                </a:lnTo>
                <a:lnTo>
                  <a:pt x="11743650" y="4859001"/>
                </a:lnTo>
                <a:cubicBezTo>
                  <a:pt x="11743650" y="5394882"/>
                  <a:pt x="11309232" y="5829300"/>
                  <a:pt x="10773351" y="5829300"/>
                </a:cubicBezTo>
                <a:lnTo>
                  <a:pt x="0" y="5814060"/>
                </a:lnTo>
                <a:close/>
              </a:path>
            </a:pathLst>
          </a:custGeom>
          <a:blipFill>
            <a:blip r:embed="rId3">
              <a:alphaModFix amt="28000"/>
            </a:blip>
            <a:stretch>
              <a:fillRect l="-3033" t="-6199" r="-3033" b="-27197"/>
            </a:stretch>
          </a:blipFill>
          <a:ln w="3175">
            <a:solidFill>
              <a:srgbClr val="6DAE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Rechthoek: afgeronde hoeken 1">
            <a:extLst>
              <a:ext uri="{FF2B5EF4-FFF2-40B4-BE49-F238E27FC236}">
                <a16:creationId xmlns:a16="http://schemas.microsoft.com/office/drawing/2014/main" id="{12AA14B2-5D7B-0164-14A1-A55A90CCCDAB}"/>
              </a:ext>
            </a:extLst>
          </p:cNvPr>
          <p:cNvSpPr/>
          <p:nvPr userDrawn="1"/>
        </p:nvSpPr>
        <p:spPr>
          <a:xfrm>
            <a:off x="-11409" y="616348"/>
            <a:ext cx="6830618" cy="1392564"/>
          </a:xfrm>
          <a:custGeom>
            <a:avLst/>
            <a:gdLst>
              <a:gd name="connsiteX0" fmla="*/ 0 w 6636327"/>
              <a:gd name="connsiteY0" fmla="*/ 232068 h 1392382"/>
              <a:gd name="connsiteX1" fmla="*/ 232068 w 6636327"/>
              <a:gd name="connsiteY1" fmla="*/ 0 h 1392382"/>
              <a:gd name="connsiteX2" fmla="*/ 6404259 w 6636327"/>
              <a:gd name="connsiteY2" fmla="*/ 0 h 1392382"/>
              <a:gd name="connsiteX3" fmla="*/ 6636327 w 6636327"/>
              <a:gd name="connsiteY3" fmla="*/ 232068 h 1392382"/>
              <a:gd name="connsiteX4" fmla="*/ 6636327 w 6636327"/>
              <a:gd name="connsiteY4" fmla="*/ 1160314 h 1392382"/>
              <a:gd name="connsiteX5" fmla="*/ 6404259 w 6636327"/>
              <a:gd name="connsiteY5" fmla="*/ 1392382 h 1392382"/>
              <a:gd name="connsiteX6" fmla="*/ 232068 w 6636327"/>
              <a:gd name="connsiteY6" fmla="*/ 1392382 h 1392382"/>
              <a:gd name="connsiteX7" fmla="*/ 0 w 6636327"/>
              <a:gd name="connsiteY7" fmla="*/ 1160314 h 1392382"/>
              <a:gd name="connsiteX8" fmla="*/ 0 w 6636327"/>
              <a:gd name="connsiteY8" fmla="*/ 232068 h 1392382"/>
              <a:gd name="connsiteX0" fmla="*/ 0 w 6636327"/>
              <a:gd name="connsiteY0" fmla="*/ 232068 h 1392382"/>
              <a:gd name="connsiteX1" fmla="*/ 6404259 w 6636327"/>
              <a:gd name="connsiteY1" fmla="*/ 0 h 1392382"/>
              <a:gd name="connsiteX2" fmla="*/ 6636327 w 6636327"/>
              <a:gd name="connsiteY2" fmla="*/ 232068 h 1392382"/>
              <a:gd name="connsiteX3" fmla="*/ 6636327 w 6636327"/>
              <a:gd name="connsiteY3" fmla="*/ 1160314 h 1392382"/>
              <a:gd name="connsiteX4" fmla="*/ 6404259 w 6636327"/>
              <a:gd name="connsiteY4" fmla="*/ 1392382 h 1392382"/>
              <a:gd name="connsiteX5" fmla="*/ 232068 w 6636327"/>
              <a:gd name="connsiteY5" fmla="*/ 1392382 h 1392382"/>
              <a:gd name="connsiteX6" fmla="*/ 0 w 6636327"/>
              <a:gd name="connsiteY6" fmla="*/ 1160314 h 1392382"/>
              <a:gd name="connsiteX7" fmla="*/ 0 w 6636327"/>
              <a:gd name="connsiteY7" fmla="*/ 232068 h 1392382"/>
              <a:gd name="connsiteX0" fmla="*/ 13855 w 6636327"/>
              <a:gd name="connsiteY0" fmla="*/ 90682 h 1465742"/>
              <a:gd name="connsiteX1" fmla="*/ 6404259 w 6636327"/>
              <a:gd name="connsiteY1" fmla="*/ 73360 h 1465742"/>
              <a:gd name="connsiteX2" fmla="*/ 6636327 w 6636327"/>
              <a:gd name="connsiteY2" fmla="*/ 305428 h 1465742"/>
              <a:gd name="connsiteX3" fmla="*/ 6636327 w 6636327"/>
              <a:gd name="connsiteY3" fmla="*/ 1233674 h 1465742"/>
              <a:gd name="connsiteX4" fmla="*/ 6404259 w 6636327"/>
              <a:gd name="connsiteY4" fmla="*/ 1465742 h 1465742"/>
              <a:gd name="connsiteX5" fmla="*/ 232068 w 6636327"/>
              <a:gd name="connsiteY5" fmla="*/ 1465742 h 1465742"/>
              <a:gd name="connsiteX6" fmla="*/ 0 w 6636327"/>
              <a:gd name="connsiteY6" fmla="*/ 1233674 h 1465742"/>
              <a:gd name="connsiteX7" fmla="*/ 13855 w 6636327"/>
              <a:gd name="connsiteY7" fmla="*/ 90682 h 1465742"/>
              <a:gd name="connsiteX0" fmla="*/ 683186 w 7305658"/>
              <a:gd name="connsiteY0" fmla="*/ 90682 h 1465742"/>
              <a:gd name="connsiteX1" fmla="*/ 7073590 w 7305658"/>
              <a:gd name="connsiteY1" fmla="*/ 73360 h 1465742"/>
              <a:gd name="connsiteX2" fmla="*/ 7305658 w 7305658"/>
              <a:gd name="connsiteY2" fmla="*/ 305428 h 1465742"/>
              <a:gd name="connsiteX3" fmla="*/ 7305658 w 7305658"/>
              <a:gd name="connsiteY3" fmla="*/ 1233674 h 1465742"/>
              <a:gd name="connsiteX4" fmla="*/ 7073590 w 7305658"/>
              <a:gd name="connsiteY4" fmla="*/ 1465742 h 1465742"/>
              <a:gd name="connsiteX5" fmla="*/ 901399 w 7305658"/>
              <a:gd name="connsiteY5" fmla="*/ 1465742 h 1465742"/>
              <a:gd name="connsiteX6" fmla="*/ 683186 w 7305658"/>
              <a:gd name="connsiteY6" fmla="*/ 90682 h 1465742"/>
              <a:gd name="connsiteX0" fmla="*/ 691422 w 7313894"/>
              <a:gd name="connsiteY0" fmla="*/ 90682 h 1465742"/>
              <a:gd name="connsiteX1" fmla="*/ 7081826 w 7313894"/>
              <a:gd name="connsiteY1" fmla="*/ 73360 h 1465742"/>
              <a:gd name="connsiteX2" fmla="*/ 7313894 w 7313894"/>
              <a:gd name="connsiteY2" fmla="*/ 305428 h 1465742"/>
              <a:gd name="connsiteX3" fmla="*/ 7313894 w 7313894"/>
              <a:gd name="connsiteY3" fmla="*/ 1233674 h 1465742"/>
              <a:gd name="connsiteX4" fmla="*/ 7081826 w 7313894"/>
              <a:gd name="connsiteY4" fmla="*/ 1465742 h 1465742"/>
              <a:gd name="connsiteX5" fmla="*/ 909635 w 7313894"/>
              <a:gd name="connsiteY5" fmla="*/ 1465742 h 1465742"/>
              <a:gd name="connsiteX6" fmla="*/ 691422 w 7313894"/>
              <a:gd name="connsiteY6" fmla="*/ 90682 h 1465742"/>
              <a:gd name="connsiteX0" fmla="*/ 1425343 w 6738560"/>
              <a:gd name="connsiteY0" fmla="*/ 57527 h 1727893"/>
              <a:gd name="connsiteX1" fmla="*/ 6506492 w 6738560"/>
              <a:gd name="connsiteY1" fmla="*/ 220314 h 1727893"/>
              <a:gd name="connsiteX2" fmla="*/ 6738560 w 6738560"/>
              <a:gd name="connsiteY2" fmla="*/ 452382 h 1727893"/>
              <a:gd name="connsiteX3" fmla="*/ 6738560 w 6738560"/>
              <a:gd name="connsiteY3" fmla="*/ 1380628 h 1727893"/>
              <a:gd name="connsiteX4" fmla="*/ 6506492 w 6738560"/>
              <a:gd name="connsiteY4" fmla="*/ 1612696 h 1727893"/>
              <a:gd name="connsiteX5" fmla="*/ 334301 w 6738560"/>
              <a:gd name="connsiteY5" fmla="*/ 1612696 h 1727893"/>
              <a:gd name="connsiteX6" fmla="*/ 1425343 w 6738560"/>
              <a:gd name="connsiteY6" fmla="*/ 57527 h 1727893"/>
              <a:gd name="connsiteX0" fmla="*/ 1340784 w 6654001"/>
              <a:gd name="connsiteY0" fmla="*/ 57527 h 1727893"/>
              <a:gd name="connsiteX1" fmla="*/ 6421933 w 6654001"/>
              <a:gd name="connsiteY1" fmla="*/ 220314 h 1727893"/>
              <a:gd name="connsiteX2" fmla="*/ 6654001 w 6654001"/>
              <a:gd name="connsiteY2" fmla="*/ 452382 h 1727893"/>
              <a:gd name="connsiteX3" fmla="*/ 6654001 w 6654001"/>
              <a:gd name="connsiteY3" fmla="*/ 1380628 h 1727893"/>
              <a:gd name="connsiteX4" fmla="*/ 6421933 w 6654001"/>
              <a:gd name="connsiteY4" fmla="*/ 1612696 h 1727893"/>
              <a:gd name="connsiteX5" fmla="*/ 249742 w 6654001"/>
              <a:gd name="connsiteY5" fmla="*/ 1612696 h 1727893"/>
              <a:gd name="connsiteX6" fmla="*/ 1340784 w 6654001"/>
              <a:gd name="connsiteY6" fmla="*/ 57527 h 1727893"/>
              <a:gd name="connsiteX0" fmla="*/ 1304393 w 6617610"/>
              <a:gd name="connsiteY0" fmla="*/ 57527 h 1727893"/>
              <a:gd name="connsiteX1" fmla="*/ 6385542 w 6617610"/>
              <a:gd name="connsiteY1" fmla="*/ 220314 h 1727893"/>
              <a:gd name="connsiteX2" fmla="*/ 6617610 w 6617610"/>
              <a:gd name="connsiteY2" fmla="*/ 452382 h 1727893"/>
              <a:gd name="connsiteX3" fmla="*/ 6617610 w 6617610"/>
              <a:gd name="connsiteY3" fmla="*/ 1380628 h 1727893"/>
              <a:gd name="connsiteX4" fmla="*/ 6385542 w 6617610"/>
              <a:gd name="connsiteY4" fmla="*/ 1612696 h 1727893"/>
              <a:gd name="connsiteX5" fmla="*/ 213351 w 6617610"/>
              <a:gd name="connsiteY5" fmla="*/ 1612696 h 1727893"/>
              <a:gd name="connsiteX6" fmla="*/ 1304393 w 6617610"/>
              <a:gd name="connsiteY6" fmla="*/ 57527 h 1727893"/>
              <a:gd name="connsiteX0" fmla="*/ 320501 w 6936045"/>
              <a:gd name="connsiteY0" fmla="*/ 88730 h 1573086"/>
              <a:gd name="connsiteX1" fmla="*/ 6703977 w 6936045"/>
              <a:gd name="connsiteY1" fmla="*/ 78335 h 1573086"/>
              <a:gd name="connsiteX2" fmla="*/ 6936045 w 6936045"/>
              <a:gd name="connsiteY2" fmla="*/ 310403 h 1573086"/>
              <a:gd name="connsiteX3" fmla="*/ 6936045 w 6936045"/>
              <a:gd name="connsiteY3" fmla="*/ 1238649 h 1573086"/>
              <a:gd name="connsiteX4" fmla="*/ 6703977 w 6936045"/>
              <a:gd name="connsiteY4" fmla="*/ 1470717 h 1573086"/>
              <a:gd name="connsiteX5" fmla="*/ 531786 w 6936045"/>
              <a:gd name="connsiteY5" fmla="*/ 1470717 h 1573086"/>
              <a:gd name="connsiteX6" fmla="*/ 320501 w 6936045"/>
              <a:gd name="connsiteY6" fmla="*/ 88730 h 1573086"/>
              <a:gd name="connsiteX0" fmla="*/ 0 w 6615544"/>
              <a:gd name="connsiteY0" fmla="*/ 88730 h 1719505"/>
              <a:gd name="connsiteX1" fmla="*/ 6383476 w 6615544"/>
              <a:gd name="connsiteY1" fmla="*/ 78335 h 1719505"/>
              <a:gd name="connsiteX2" fmla="*/ 6615544 w 6615544"/>
              <a:gd name="connsiteY2" fmla="*/ 310403 h 1719505"/>
              <a:gd name="connsiteX3" fmla="*/ 6615544 w 6615544"/>
              <a:gd name="connsiteY3" fmla="*/ 1238649 h 1719505"/>
              <a:gd name="connsiteX4" fmla="*/ 6383476 w 6615544"/>
              <a:gd name="connsiteY4" fmla="*/ 1470717 h 1719505"/>
              <a:gd name="connsiteX5" fmla="*/ 211285 w 6615544"/>
              <a:gd name="connsiteY5" fmla="*/ 1470717 h 1719505"/>
              <a:gd name="connsiteX6" fmla="*/ 0 w 6615544"/>
              <a:gd name="connsiteY6" fmla="*/ 88730 h 1719505"/>
              <a:gd name="connsiteX0" fmla="*/ 133766 w 6749310"/>
              <a:gd name="connsiteY0" fmla="*/ 88730 h 1719505"/>
              <a:gd name="connsiteX1" fmla="*/ 6517242 w 6749310"/>
              <a:gd name="connsiteY1" fmla="*/ 78335 h 1719505"/>
              <a:gd name="connsiteX2" fmla="*/ 6749310 w 6749310"/>
              <a:gd name="connsiteY2" fmla="*/ 310403 h 1719505"/>
              <a:gd name="connsiteX3" fmla="*/ 6749310 w 6749310"/>
              <a:gd name="connsiteY3" fmla="*/ 1238649 h 1719505"/>
              <a:gd name="connsiteX4" fmla="*/ 6517242 w 6749310"/>
              <a:gd name="connsiteY4" fmla="*/ 1470717 h 1719505"/>
              <a:gd name="connsiteX5" fmla="*/ 109523 w 6749310"/>
              <a:gd name="connsiteY5" fmla="*/ 1470717 h 1719505"/>
              <a:gd name="connsiteX6" fmla="*/ 133766 w 6749310"/>
              <a:gd name="connsiteY6" fmla="*/ 88730 h 1719505"/>
              <a:gd name="connsiteX0" fmla="*/ 24243 w 6639787"/>
              <a:gd name="connsiteY0" fmla="*/ 88730 h 1470721"/>
              <a:gd name="connsiteX1" fmla="*/ 6407719 w 6639787"/>
              <a:gd name="connsiteY1" fmla="*/ 78335 h 1470721"/>
              <a:gd name="connsiteX2" fmla="*/ 6639787 w 6639787"/>
              <a:gd name="connsiteY2" fmla="*/ 310403 h 1470721"/>
              <a:gd name="connsiteX3" fmla="*/ 6639787 w 6639787"/>
              <a:gd name="connsiteY3" fmla="*/ 1238649 h 1470721"/>
              <a:gd name="connsiteX4" fmla="*/ 6407719 w 6639787"/>
              <a:gd name="connsiteY4" fmla="*/ 1470717 h 1470721"/>
              <a:gd name="connsiteX5" fmla="*/ 0 w 6639787"/>
              <a:gd name="connsiteY5" fmla="*/ 1470717 h 1470721"/>
              <a:gd name="connsiteX6" fmla="*/ 24243 w 6639787"/>
              <a:gd name="connsiteY6" fmla="*/ 88730 h 1470721"/>
              <a:gd name="connsiteX0" fmla="*/ 470028 w 7113281"/>
              <a:gd name="connsiteY0" fmla="*/ 92721 h 1562196"/>
              <a:gd name="connsiteX1" fmla="*/ 6881213 w 7113281"/>
              <a:gd name="connsiteY1" fmla="*/ 68471 h 1562196"/>
              <a:gd name="connsiteX2" fmla="*/ 7113281 w 7113281"/>
              <a:gd name="connsiteY2" fmla="*/ 300539 h 1562196"/>
              <a:gd name="connsiteX3" fmla="*/ 7113281 w 7113281"/>
              <a:gd name="connsiteY3" fmla="*/ 1228785 h 1562196"/>
              <a:gd name="connsiteX4" fmla="*/ 6881213 w 7113281"/>
              <a:gd name="connsiteY4" fmla="*/ 1460853 h 1562196"/>
              <a:gd name="connsiteX5" fmla="*/ 473494 w 7113281"/>
              <a:gd name="connsiteY5" fmla="*/ 1460853 h 1562196"/>
              <a:gd name="connsiteX6" fmla="*/ 470028 w 7113281"/>
              <a:gd name="connsiteY6" fmla="*/ 92721 h 1562196"/>
              <a:gd name="connsiteX0" fmla="*/ 0 w 6643253"/>
              <a:gd name="connsiteY0" fmla="*/ 92721 h 1929353"/>
              <a:gd name="connsiteX1" fmla="*/ 6411185 w 6643253"/>
              <a:gd name="connsiteY1" fmla="*/ 68471 h 1929353"/>
              <a:gd name="connsiteX2" fmla="*/ 6643253 w 6643253"/>
              <a:gd name="connsiteY2" fmla="*/ 300539 h 1929353"/>
              <a:gd name="connsiteX3" fmla="*/ 6643253 w 6643253"/>
              <a:gd name="connsiteY3" fmla="*/ 1228785 h 1929353"/>
              <a:gd name="connsiteX4" fmla="*/ 6411185 w 6643253"/>
              <a:gd name="connsiteY4" fmla="*/ 1460853 h 1929353"/>
              <a:gd name="connsiteX5" fmla="*/ 3466 w 6643253"/>
              <a:gd name="connsiteY5" fmla="*/ 1460853 h 1929353"/>
              <a:gd name="connsiteX6" fmla="*/ 0 w 6643253"/>
              <a:gd name="connsiteY6" fmla="*/ 92721 h 1929353"/>
              <a:gd name="connsiteX0" fmla="*/ 0 w 6643253"/>
              <a:gd name="connsiteY0" fmla="*/ 92721 h 1460866"/>
              <a:gd name="connsiteX1" fmla="*/ 6411185 w 6643253"/>
              <a:gd name="connsiteY1" fmla="*/ 68471 h 1460866"/>
              <a:gd name="connsiteX2" fmla="*/ 6643253 w 6643253"/>
              <a:gd name="connsiteY2" fmla="*/ 300539 h 1460866"/>
              <a:gd name="connsiteX3" fmla="*/ 6643253 w 6643253"/>
              <a:gd name="connsiteY3" fmla="*/ 1228785 h 1460866"/>
              <a:gd name="connsiteX4" fmla="*/ 6411185 w 6643253"/>
              <a:gd name="connsiteY4" fmla="*/ 1460853 h 1460866"/>
              <a:gd name="connsiteX5" fmla="*/ 3466 w 6643253"/>
              <a:gd name="connsiteY5" fmla="*/ 1460853 h 1460866"/>
              <a:gd name="connsiteX6" fmla="*/ 0 w 6643253"/>
              <a:gd name="connsiteY6" fmla="*/ 92721 h 1460866"/>
              <a:gd name="connsiteX0" fmla="*/ 470028 w 7113281"/>
              <a:gd name="connsiteY0" fmla="*/ 90388 h 1568403"/>
              <a:gd name="connsiteX1" fmla="*/ 6881213 w 7113281"/>
              <a:gd name="connsiteY1" fmla="*/ 74089 h 1568403"/>
              <a:gd name="connsiteX2" fmla="*/ 7113281 w 7113281"/>
              <a:gd name="connsiteY2" fmla="*/ 306157 h 1568403"/>
              <a:gd name="connsiteX3" fmla="*/ 7113281 w 7113281"/>
              <a:gd name="connsiteY3" fmla="*/ 1234403 h 1568403"/>
              <a:gd name="connsiteX4" fmla="*/ 6881213 w 7113281"/>
              <a:gd name="connsiteY4" fmla="*/ 1466471 h 1568403"/>
              <a:gd name="connsiteX5" fmla="*/ 473494 w 7113281"/>
              <a:gd name="connsiteY5" fmla="*/ 1466471 h 1568403"/>
              <a:gd name="connsiteX6" fmla="*/ 470028 w 7113281"/>
              <a:gd name="connsiteY6" fmla="*/ 90388 h 1568403"/>
              <a:gd name="connsiteX0" fmla="*/ 470028 w 7113281"/>
              <a:gd name="connsiteY0" fmla="*/ 16299 h 1494314"/>
              <a:gd name="connsiteX1" fmla="*/ 6881213 w 7113281"/>
              <a:gd name="connsiteY1" fmla="*/ 0 h 1494314"/>
              <a:gd name="connsiteX2" fmla="*/ 7113281 w 7113281"/>
              <a:gd name="connsiteY2" fmla="*/ 232068 h 1494314"/>
              <a:gd name="connsiteX3" fmla="*/ 7113281 w 7113281"/>
              <a:gd name="connsiteY3" fmla="*/ 1160314 h 1494314"/>
              <a:gd name="connsiteX4" fmla="*/ 6881213 w 7113281"/>
              <a:gd name="connsiteY4" fmla="*/ 1392382 h 1494314"/>
              <a:gd name="connsiteX5" fmla="*/ 473494 w 7113281"/>
              <a:gd name="connsiteY5" fmla="*/ 1392382 h 1494314"/>
              <a:gd name="connsiteX6" fmla="*/ 470028 w 7113281"/>
              <a:gd name="connsiteY6" fmla="*/ 16299 h 1494314"/>
              <a:gd name="connsiteX0" fmla="*/ 470028 w 7292185"/>
              <a:gd name="connsiteY0" fmla="*/ 16299 h 1494314"/>
              <a:gd name="connsiteX1" fmla="*/ 6881213 w 7292185"/>
              <a:gd name="connsiteY1" fmla="*/ 0 h 1494314"/>
              <a:gd name="connsiteX2" fmla="*/ 7292185 w 7292185"/>
              <a:gd name="connsiteY2" fmla="*/ 228092 h 1494314"/>
              <a:gd name="connsiteX3" fmla="*/ 7113281 w 7292185"/>
              <a:gd name="connsiteY3" fmla="*/ 1160314 h 1494314"/>
              <a:gd name="connsiteX4" fmla="*/ 6881213 w 7292185"/>
              <a:gd name="connsiteY4" fmla="*/ 1392382 h 1494314"/>
              <a:gd name="connsiteX5" fmla="*/ 473494 w 7292185"/>
              <a:gd name="connsiteY5" fmla="*/ 1392382 h 1494314"/>
              <a:gd name="connsiteX6" fmla="*/ 470028 w 7292185"/>
              <a:gd name="connsiteY6" fmla="*/ 16299 h 1494314"/>
              <a:gd name="connsiteX0" fmla="*/ 470028 w 7292185"/>
              <a:gd name="connsiteY0" fmla="*/ 16299 h 1494314"/>
              <a:gd name="connsiteX1" fmla="*/ 6881213 w 7292185"/>
              <a:gd name="connsiteY1" fmla="*/ 0 h 1494314"/>
              <a:gd name="connsiteX2" fmla="*/ 7292185 w 7292185"/>
              <a:gd name="connsiteY2" fmla="*/ 228092 h 1494314"/>
              <a:gd name="connsiteX3" fmla="*/ 7288210 w 7292185"/>
              <a:gd name="connsiteY3" fmla="*/ 1152362 h 1494314"/>
              <a:gd name="connsiteX4" fmla="*/ 6881213 w 7292185"/>
              <a:gd name="connsiteY4" fmla="*/ 1392382 h 1494314"/>
              <a:gd name="connsiteX5" fmla="*/ 473494 w 7292185"/>
              <a:gd name="connsiteY5" fmla="*/ 1392382 h 1494314"/>
              <a:gd name="connsiteX6" fmla="*/ 470028 w 7292185"/>
              <a:gd name="connsiteY6" fmla="*/ 16299 h 1494314"/>
              <a:gd name="connsiteX0" fmla="*/ 470028 w 7296161"/>
              <a:gd name="connsiteY0" fmla="*/ 16299 h 1494314"/>
              <a:gd name="connsiteX1" fmla="*/ 6881213 w 7296161"/>
              <a:gd name="connsiteY1" fmla="*/ 0 h 1494314"/>
              <a:gd name="connsiteX2" fmla="*/ 7292185 w 7296161"/>
              <a:gd name="connsiteY2" fmla="*/ 228092 h 1494314"/>
              <a:gd name="connsiteX3" fmla="*/ 7296161 w 7296161"/>
              <a:gd name="connsiteY3" fmla="*/ 973457 h 1494314"/>
              <a:gd name="connsiteX4" fmla="*/ 6881213 w 7296161"/>
              <a:gd name="connsiteY4" fmla="*/ 1392382 h 1494314"/>
              <a:gd name="connsiteX5" fmla="*/ 473494 w 7296161"/>
              <a:gd name="connsiteY5" fmla="*/ 1392382 h 1494314"/>
              <a:gd name="connsiteX6" fmla="*/ 470028 w 7296161"/>
              <a:gd name="connsiteY6" fmla="*/ 16299 h 1494314"/>
              <a:gd name="connsiteX0" fmla="*/ 470028 w 7296161"/>
              <a:gd name="connsiteY0" fmla="*/ 16299 h 1494314"/>
              <a:gd name="connsiteX1" fmla="*/ 6881213 w 7296161"/>
              <a:gd name="connsiteY1" fmla="*/ 0 h 1494314"/>
              <a:gd name="connsiteX2" fmla="*/ 7292185 w 7296161"/>
              <a:gd name="connsiteY2" fmla="*/ 228092 h 1494314"/>
              <a:gd name="connsiteX3" fmla="*/ 7296161 w 7296161"/>
              <a:gd name="connsiteY3" fmla="*/ 973457 h 1494314"/>
              <a:gd name="connsiteX4" fmla="*/ 6881213 w 7296161"/>
              <a:gd name="connsiteY4" fmla="*/ 1392382 h 1494314"/>
              <a:gd name="connsiteX5" fmla="*/ 473494 w 7296161"/>
              <a:gd name="connsiteY5" fmla="*/ 1392382 h 1494314"/>
              <a:gd name="connsiteX6" fmla="*/ 470028 w 7296161"/>
              <a:gd name="connsiteY6" fmla="*/ 16299 h 1494314"/>
              <a:gd name="connsiteX0" fmla="*/ 470028 w 7522469"/>
              <a:gd name="connsiteY0" fmla="*/ 16299 h 1494314"/>
              <a:gd name="connsiteX1" fmla="*/ 6881213 w 7522469"/>
              <a:gd name="connsiteY1" fmla="*/ 0 h 1494314"/>
              <a:gd name="connsiteX2" fmla="*/ 7296161 w 7522469"/>
              <a:gd name="connsiteY2" fmla="*/ 973457 h 1494314"/>
              <a:gd name="connsiteX3" fmla="*/ 6881213 w 7522469"/>
              <a:gd name="connsiteY3" fmla="*/ 1392382 h 1494314"/>
              <a:gd name="connsiteX4" fmla="*/ 473494 w 7522469"/>
              <a:gd name="connsiteY4" fmla="*/ 1392382 h 1494314"/>
              <a:gd name="connsiteX5" fmla="*/ 470028 w 7522469"/>
              <a:gd name="connsiteY5" fmla="*/ 16299 h 1494314"/>
              <a:gd name="connsiteX0" fmla="*/ 470028 w 7296161"/>
              <a:gd name="connsiteY0" fmla="*/ 16299 h 1494314"/>
              <a:gd name="connsiteX1" fmla="*/ 6881213 w 7296161"/>
              <a:gd name="connsiteY1" fmla="*/ 0 h 1494314"/>
              <a:gd name="connsiteX2" fmla="*/ 7296161 w 7296161"/>
              <a:gd name="connsiteY2" fmla="*/ 973457 h 1494314"/>
              <a:gd name="connsiteX3" fmla="*/ 6881213 w 7296161"/>
              <a:gd name="connsiteY3" fmla="*/ 1392382 h 1494314"/>
              <a:gd name="connsiteX4" fmla="*/ 473494 w 7296161"/>
              <a:gd name="connsiteY4" fmla="*/ 1392382 h 1494314"/>
              <a:gd name="connsiteX5" fmla="*/ 470028 w 7296161"/>
              <a:gd name="connsiteY5" fmla="*/ 16299 h 1494314"/>
              <a:gd name="connsiteX0" fmla="*/ 470028 w 7330462"/>
              <a:gd name="connsiteY0" fmla="*/ 16299 h 1494314"/>
              <a:gd name="connsiteX1" fmla="*/ 7330462 w 7330462"/>
              <a:gd name="connsiteY1" fmla="*/ 0 h 1494314"/>
              <a:gd name="connsiteX2" fmla="*/ 7296161 w 7330462"/>
              <a:gd name="connsiteY2" fmla="*/ 973457 h 1494314"/>
              <a:gd name="connsiteX3" fmla="*/ 6881213 w 7330462"/>
              <a:gd name="connsiteY3" fmla="*/ 1392382 h 1494314"/>
              <a:gd name="connsiteX4" fmla="*/ 473494 w 7330462"/>
              <a:gd name="connsiteY4" fmla="*/ 1392382 h 1494314"/>
              <a:gd name="connsiteX5" fmla="*/ 470028 w 7330462"/>
              <a:gd name="connsiteY5" fmla="*/ 16299 h 1494314"/>
              <a:gd name="connsiteX0" fmla="*/ 470028 w 7331941"/>
              <a:gd name="connsiteY0" fmla="*/ 16299 h 1494314"/>
              <a:gd name="connsiteX1" fmla="*/ 7330462 w 7331941"/>
              <a:gd name="connsiteY1" fmla="*/ 0 h 1494314"/>
              <a:gd name="connsiteX2" fmla="*/ 7331941 w 7331941"/>
              <a:gd name="connsiteY2" fmla="*/ 973457 h 1494314"/>
              <a:gd name="connsiteX3" fmla="*/ 6881213 w 7331941"/>
              <a:gd name="connsiteY3" fmla="*/ 1392382 h 1494314"/>
              <a:gd name="connsiteX4" fmla="*/ 473494 w 7331941"/>
              <a:gd name="connsiteY4" fmla="*/ 1392382 h 1494314"/>
              <a:gd name="connsiteX5" fmla="*/ 470028 w 7331941"/>
              <a:gd name="connsiteY5" fmla="*/ 16299 h 1494314"/>
              <a:gd name="connsiteX0" fmla="*/ 470028 w 7331941"/>
              <a:gd name="connsiteY0" fmla="*/ 16299 h 1494314"/>
              <a:gd name="connsiteX1" fmla="*/ 7330462 w 7331941"/>
              <a:gd name="connsiteY1" fmla="*/ 0 h 1494314"/>
              <a:gd name="connsiteX2" fmla="*/ 7331941 w 7331941"/>
              <a:gd name="connsiteY2" fmla="*/ 973457 h 1494314"/>
              <a:gd name="connsiteX3" fmla="*/ 6881213 w 7331941"/>
              <a:gd name="connsiteY3" fmla="*/ 1392382 h 1494314"/>
              <a:gd name="connsiteX4" fmla="*/ 473494 w 7331941"/>
              <a:gd name="connsiteY4" fmla="*/ 1392382 h 1494314"/>
              <a:gd name="connsiteX5" fmla="*/ 470028 w 7331941"/>
              <a:gd name="connsiteY5" fmla="*/ 16299 h 1494314"/>
              <a:gd name="connsiteX0" fmla="*/ 54220 w 6916133"/>
              <a:gd name="connsiteY0" fmla="*/ 16299 h 1784802"/>
              <a:gd name="connsiteX1" fmla="*/ 6914654 w 6916133"/>
              <a:gd name="connsiteY1" fmla="*/ 0 h 1784802"/>
              <a:gd name="connsiteX2" fmla="*/ 6916133 w 6916133"/>
              <a:gd name="connsiteY2" fmla="*/ 973457 h 1784802"/>
              <a:gd name="connsiteX3" fmla="*/ 6465405 w 6916133"/>
              <a:gd name="connsiteY3" fmla="*/ 1392382 h 1784802"/>
              <a:gd name="connsiteX4" fmla="*/ 57686 w 6916133"/>
              <a:gd name="connsiteY4" fmla="*/ 1392382 h 1784802"/>
              <a:gd name="connsiteX5" fmla="*/ 54220 w 6916133"/>
              <a:gd name="connsiteY5" fmla="*/ 16299 h 1784802"/>
              <a:gd name="connsiteX0" fmla="*/ 87 w 6862000"/>
              <a:gd name="connsiteY0" fmla="*/ 16299 h 1392382"/>
              <a:gd name="connsiteX1" fmla="*/ 6860521 w 6862000"/>
              <a:gd name="connsiteY1" fmla="*/ 0 h 1392382"/>
              <a:gd name="connsiteX2" fmla="*/ 6862000 w 6862000"/>
              <a:gd name="connsiteY2" fmla="*/ 973457 h 1392382"/>
              <a:gd name="connsiteX3" fmla="*/ 6411272 w 6862000"/>
              <a:gd name="connsiteY3" fmla="*/ 1392382 h 1392382"/>
              <a:gd name="connsiteX4" fmla="*/ 3553 w 6862000"/>
              <a:gd name="connsiteY4" fmla="*/ 1392382 h 1392382"/>
              <a:gd name="connsiteX5" fmla="*/ 87 w 6862000"/>
              <a:gd name="connsiteY5" fmla="*/ 16299 h 1392382"/>
              <a:gd name="connsiteX0" fmla="*/ 87 w 6862000"/>
              <a:gd name="connsiteY0" fmla="*/ 16299 h 1392382"/>
              <a:gd name="connsiteX1" fmla="*/ 6860521 w 6862000"/>
              <a:gd name="connsiteY1" fmla="*/ 0 h 1392382"/>
              <a:gd name="connsiteX2" fmla="*/ 6862000 w 6862000"/>
              <a:gd name="connsiteY2" fmla="*/ 973457 h 1392382"/>
              <a:gd name="connsiteX3" fmla="*/ 6411272 w 6862000"/>
              <a:gd name="connsiteY3" fmla="*/ 1392382 h 1392382"/>
              <a:gd name="connsiteX4" fmla="*/ 31382 w 6862000"/>
              <a:gd name="connsiteY4" fmla="*/ 1392382 h 1392382"/>
              <a:gd name="connsiteX5" fmla="*/ 87 w 6862000"/>
              <a:gd name="connsiteY5" fmla="*/ 16299 h 1392382"/>
              <a:gd name="connsiteX0" fmla="*/ 470625 w 7300732"/>
              <a:gd name="connsiteY0" fmla="*/ 8530 h 1495084"/>
              <a:gd name="connsiteX1" fmla="*/ 7299253 w 7300732"/>
              <a:gd name="connsiteY1" fmla="*/ 182 h 1495084"/>
              <a:gd name="connsiteX2" fmla="*/ 7300732 w 7300732"/>
              <a:gd name="connsiteY2" fmla="*/ 973639 h 1495084"/>
              <a:gd name="connsiteX3" fmla="*/ 6850004 w 7300732"/>
              <a:gd name="connsiteY3" fmla="*/ 1392564 h 1495084"/>
              <a:gd name="connsiteX4" fmla="*/ 470114 w 7300732"/>
              <a:gd name="connsiteY4" fmla="*/ 1392564 h 1495084"/>
              <a:gd name="connsiteX5" fmla="*/ 470625 w 7300732"/>
              <a:gd name="connsiteY5" fmla="*/ 8530 h 1495084"/>
              <a:gd name="connsiteX0" fmla="*/ 470625 w 7300732"/>
              <a:gd name="connsiteY0" fmla="*/ 8530 h 1495084"/>
              <a:gd name="connsiteX1" fmla="*/ 7299253 w 7300732"/>
              <a:gd name="connsiteY1" fmla="*/ 182 h 1495084"/>
              <a:gd name="connsiteX2" fmla="*/ 7300732 w 7300732"/>
              <a:gd name="connsiteY2" fmla="*/ 973639 h 1495084"/>
              <a:gd name="connsiteX3" fmla="*/ 6850004 w 7300732"/>
              <a:gd name="connsiteY3" fmla="*/ 1392564 h 1495084"/>
              <a:gd name="connsiteX4" fmla="*/ 470114 w 7300732"/>
              <a:gd name="connsiteY4" fmla="*/ 1392564 h 1495084"/>
              <a:gd name="connsiteX5" fmla="*/ 470625 w 7300732"/>
              <a:gd name="connsiteY5" fmla="*/ 8530 h 1495084"/>
              <a:gd name="connsiteX0" fmla="*/ 511 w 6830618"/>
              <a:gd name="connsiteY0" fmla="*/ 8530 h 1392564"/>
              <a:gd name="connsiteX1" fmla="*/ 6829139 w 6830618"/>
              <a:gd name="connsiteY1" fmla="*/ 182 h 1392564"/>
              <a:gd name="connsiteX2" fmla="*/ 6830618 w 6830618"/>
              <a:gd name="connsiteY2" fmla="*/ 973639 h 1392564"/>
              <a:gd name="connsiteX3" fmla="*/ 6379890 w 6830618"/>
              <a:gd name="connsiteY3" fmla="*/ 1392564 h 1392564"/>
              <a:gd name="connsiteX4" fmla="*/ 0 w 6830618"/>
              <a:gd name="connsiteY4" fmla="*/ 1392564 h 1392564"/>
              <a:gd name="connsiteX5" fmla="*/ 511 w 6830618"/>
              <a:gd name="connsiteY5" fmla="*/ 8530 h 1392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30618" h="1392564">
                <a:moveTo>
                  <a:pt x="511" y="8530"/>
                </a:moveTo>
                <a:cubicBezTo>
                  <a:pt x="34217" y="-1976"/>
                  <a:pt x="5723085" y="182"/>
                  <a:pt x="6829139" y="182"/>
                </a:cubicBezTo>
                <a:cubicBezTo>
                  <a:pt x="6821840" y="681"/>
                  <a:pt x="6830618" y="741575"/>
                  <a:pt x="6830618" y="973639"/>
                </a:cubicBezTo>
                <a:cubicBezTo>
                  <a:pt x="6818691" y="1352272"/>
                  <a:pt x="6508058" y="1392564"/>
                  <a:pt x="6379890" y="1392564"/>
                </a:cubicBezTo>
                <a:lnTo>
                  <a:pt x="0" y="1392564"/>
                </a:lnTo>
                <a:cubicBezTo>
                  <a:pt x="2245" y="1392480"/>
                  <a:pt x="10904" y="-1861"/>
                  <a:pt x="511" y="853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aphicFrame>
        <p:nvGraphicFramePr>
          <p:cNvPr id="4" name="Object 3" hidden="1">
            <a:extLst>
              <a:ext uri="{FF2B5EF4-FFF2-40B4-BE49-F238E27FC236}">
                <a16:creationId xmlns:a16="http://schemas.microsoft.com/office/drawing/2014/main" id="{3F45C80D-1119-4232-8939-1F841342B49C}"/>
              </a:ext>
            </a:extLst>
          </p:cNvPr>
          <p:cNvGraphicFramePr>
            <a:graphicFrameLocks noChangeAspect="1"/>
          </p:cNvGraphicFramePr>
          <p:nvPr userDrawn="1">
            <p:custDataLst>
              <p:tags r:id="rId1"/>
            </p:custDataLst>
            <p:extLst>
              <p:ext uri="{D42A27DB-BD31-4B8C-83A1-F6EECF244321}">
                <p14:modId xmlns:p14="http://schemas.microsoft.com/office/powerpoint/2010/main" val="3467496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4" name="Object 3" hidden="1">
                        <a:extLst>
                          <a:ext uri="{FF2B5EF4-FFF2-40B4-BE49-F238E27FC236}">
                            <a16:creationId xmlns:a16="http://schemas.microsoft.com/office/drawing/2014/main" id="{3F45C80D-1119-4232-8939-1F841342B4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itle 2"/>
          <p:cNvSpPr>
            <a:spLocks noGrp="1"/>
          </p:cNvSpPr>
          <p:nvPr>
            <p:ph type="subTitle" idx="1" hasCustomPrompt="1"/>
          </p:nvPr>
        </p:nvSpPr>
        <p:spPr>
          <a:xfrm>
            <a:off x="880534" y="698305"/>
            <a:ext cx="6916737" cy="580684"/>
          </a:xfrm>
          <a:prstGeom prst="rect">
            <a:avLst/>
          </a:prstGeom>
        </p:spPr>
        <p:txBody>
          <a:bodyPr>
            <a:normAutofit/>
          </a:bodyPr>
          <a:lstStyle>
            <a:lvl1pPr marL="0" indent="0" algn="l">
              <a:lnSpc>
                <a:spcPct val="112000"/>
              </a:lnSpc>
              <a:spcBef>
                <a:spcPts val="0"/>
              </a:spcBef>
              <a:spcAft>
                <a:spcPts val="0"/>
              </a:spcAft>
              <a:buNone/>
              <a:defRPr sz="2800">
                <a:solidFill>
                  <a:srgbClr val="1D5886"/>
                </a:solidFill>
                <a:latin typeface="Barlow Medium" panose="00000600000000000000" pitchFamily="2" charset="0"/>
                <a:ea typeface="Roboto Slab Medium"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Titel]</a:t>
            </a:r>
          </a:p>
        </p:txBody>
      </p:sp>
      <p:sp>
        <p:nvSpPr>
          <p:cNvPr id="5" name="Tijdelijke aanduiding voor tekst 4">
            <a:extLst>
              <a:ext uri="{FF2B5EF4-FFF2-40B4-BE49-F238E27FC236}">
                <a16:creationId xmlns:a16="http://schemas.microsoft.com/office/drawing/2014/main" id="{94F1CF18-6D0F-01B6-D98B-90A98732D470}"/>
              </a:ext>
            </a:extLst>
          </p:cNvPr>
          <p:cNvSpPr>
            <a:spLocks noGrp="1"/>
          </p:cNvSpPr>
          <p:nvPr>
            <p:ph type="body" sz="quarter" idx="10" hasCustomPrompt="1"/>
          </p:nvPr>
        </p:nvSpPr>
        <p:spPr>
          <a:xfrm>
            <a:off x="880534" y="1177612"/>
            <a:ext cx="6916737" cy="466160"/>
          </a:xfrm>
          <a:prstGeom prst="rect">
            <a:avLst/>
          </a:prstGeom>
        </p:spPr>
        <p:txBody>
          <a:bodyPr/>
          <a:lstStyle>
            <a:lvl1pPr marL="0" indent="0">
              <a:buNone/>
              <a:defRPr>
                <a:solidFill>
                  <a:srgbClr val="1D3B4E"/>
                </a:solidFill>
                <a:latin typeface="Barlow" panose="00000500000000000000" pitchFamily="2" charset="0"/>
              </a:defRPr>
            </a:lvl1pPr>
            <a:lvl2pPr marL="530352" indent="0">
              <a:buNone/>
              <a:defRPr/>
            </a:lvl2pPr>
          </a:lstStyle>
          <a:p>
            <a:pPr lvl="0"/>
            <a:r>
              <a:rPr lang="nl-NL"/>
              <a:t>[Evt. ondertitel]</a:t>
            </a:r>
          </a:p>
        </p:txBody>
      </p:sp>
      <p:sp>
        <p:nvSpPr>
          <p:cNvPr id="13" name="Tijdelijke aanduiding voor tekst 12">
            <a:extLst>
              <a:ext uri="{FF2B5EF4-FFF2-40B4-BE49-F238E27FC236}">
                <a16:creationId xmlns:a16="http://schemas.microsoft.com/office/drawing/2014/main" id="{13961C34-AE95-2974-5B67-32D630656B31}"/>
              </a:ext>
            </a:extLst>
          </p:cNvPr>
          <p:cNvSpPr>
            <a:spLocks noGrp="1"/>
          </p:cNvSpPr>
          <p:nvPr>
            <p:ph type="body" sz="quarter" idx="13" hasCustomPrompt="1"/>
          </p:nvPr>
        </p:nvSpPr>
        <p:spPr>
          <a:xfrm>
            <a:off x="880534" y="5006595"/>
            <a:ext cx="3648974" cy="359585"/>
          </a:xfrm>
          <a:prstGeom prst="rect">
            <a:avLst/>
          </a:prstGeom>
        </p:spPr>
        <p:txBody>
          <a:bodyPr>
            <a:normAutofit/>
          </a:bodyPr>
          <a:lstStyle>
            <a:lvl1pPr marL="0" indent="0">
              <a:buNone/>
              <a:defRPr sz="1600" b="1"/>
            </a:lvl1pPr>
          </a:lstStyle>
          <a:p>
            <a:pPr lvl="0"/>
            <a:r>
              <a:rPr lang="nl-NL"/>
              <a:t>[Naam spreker]</a:t>
            </a:r>
          </a:p>
        </p:txBody>
      </p:sp>
      <p:sp>
        <p:nvSpPr>
          <p:cNvPr id="15" name="Tijdelijke aanduiding voor tekst 14">
            <a:extLst>
              <a:ext uri="{FF2B5EF4-FFF2-40B4-BE49-F238E27FC236}">
                <a16:creationId xmlns:a16="http://schemas.microsoft.com/office/drawing/2014/main" id="{808054D0-1CAE-DA89-F90F-7A2D2A57C74E}"/>
              </a:ext>
            </a:extLst>
          </p:cNvPr>
          <p:cNvSpPr>
            <a:spLocks noGrp="1"/>
          </p:cNvSpPr>
          <p:nvPr>
            <p:ph type="body" sz="quarter" idx="14" hasCustomPrompt="1"/>
          </p:nvPr>
        </p:nvSpPr>
        <p:spPr>
          <a:xfrm>
            <a:off x="880534" y="5316848"/>
            <a:ext cx="3649663" cy="312738"/>
          </a:xfrm>
          <a:prstGeom prst="rect">
            <a:avLst/>
          </a:prstGeom>
        </p:spPr>
        <p:txBody>
          <a:bodyPr>
            <a:noAutofit/>
          </a:bodyPr>
          <a:lstStyle>
            <a:lvl1pPr marL="0" indent="0">
              <a:buNone/>
              <a:defRPr sz="1600">
                <a:solidFill>
                  <a:srgbClr val="1D3B4E"/>
                </a:solidFill>
                <a:latin typeface="Barlow" panose="00000500000000000000" pitchFamily="2" charset="0"/>
              </a:defRPr>
            </a:lvl1pPr>
          </a:lstStyle>
          <a:p>
            <a:pPr lvl="0"/>
            <a:r>
              <a:rPr lang="nl-NL"/>
              <a:t>[functie]</a:t>
            </a:r>
          </a:p>
        </p:txBody>
      </p:sp>
      <p:sp>
        <p:nvSpPr>
          <p:cNvPr id="17" name="Tijdelijke aanduiding voor tekst 16">
            <a:extLst>
              <a:ext uri="{FF2B5EF4-FFF2-40B4-BE49-F238E27FC236}">
                <a16:creationId xmlns:a16="http://schemas.microsoft.com/office/drawing/2014/main" id="{EC5305DD-6345-2BF0-4D13-882839029D43}"/>
              </a:ext>
            </a:extLst>
          </p:cNvPr>
          <p:cNvSpPr>
            <a:spLocks noGrp="1"/>
          </p:cNvSpPr>
          <p:nvPr>
            <p:ph type="body" sz="quarter" idx="15" hasCustomPrompt="1"/>
          </p:nvPr>
        </p:nvSpPr>
        <p:spPr>
          <a:xfrm>
            <a:off x="880534" y="1589242"/>
            <a:ext cx="3649663" cy="312738"/>
          </a:xfrm>
          <a:prstGeom prst="rect">
            <a:avLst/>
          </a:prstGeom>
        </p:spPr>
        <p:txBody>
          <a:bodyPr>
            <a:noAutofit/>
          </a:bodyPr>
          <a:lstStyle>
            <a:lvl1pPr marL="0" indent="0">
              <a:buNone/>
              <a:defRPr sz="1200" i="1">
                <a:solidFill>
                  <a:srgbClr val="0063A4"/>
                </a:solidFill>
                <a:latin typeface="Barlow Light" panose="00000400000000000000" pitchFamily="2" charset="0"/>
              </a:defRPr>
            </a:lvl1pPr>
          </a:lstStyle>
          <a:p>
            <a:pPr lvl="0"/>
            <a:r>
              <a:rPr lang="nl-NL"/>
              <a:t>[Datum | Plaats]</a:t>
            </a:r>
          </a:p>
        </p:txBody>
      </p:sp>
      <p:cxnSp>
        <p:nvCxnSpPr>
          <p:cNvPr id="9" name="Rechte verbindingslijn 8">
            <a:extLst>
              <a:ext uri="{FF2B5EF4-FFF2-40B4-BE49-F238E27FC236}">
                <a16:creationId xmlns:a16="http://schemas.microsoft.com/office/drawing/2014/main" id="{5ACF4D1C-F485-493D-C2D7-72762994E5FA}"/>
              </a:ext>
            </a:extLst>
          </p:cNvPr>
          <p:cNvCxnSpPr>
            <a:cxnSpLocks/>
          </p:cNvCxnSpPr>
          <p:nvPr userDrawn="1"/>
        </p:nvCxnSpPr>
        <p:spPr>
          <a:xfrm flipV="1">
            <a:off x="829735" y="698305"/>
            <a:ext cx="0" cy="1203675"/>
          </a:xfrm>
          <a:prstGeom prst="line">
            <a:avLst/>
          </a:prstGeom>
          <a:ln w="12700">
            <a:solidFill>
              <a:srgbClr val="0063A4"/>
            </a:solidFill>
          </a:ln>
        </p:spPr>
        <p:style>
          <a:lnRef idx="1">
            <a:schemeClr val="accent1"/>
          </a:lnRef>
          <a:fillRef idx="0">
            <a:schemeClr val="accent1"/>
          </a:fillRef>
          <a:effectRef idx="0">
            <a:schemeClr val="accent1"/>
          </a:effectRef>
          <a:fontRef idx="minor">
            <a:schemeClr val="tx1"/>
          </a:fontRef>
        </p:style>
      </p:cxnSp>
      <p:pic>
        <p:nvPicPr>
          <p:cNvPr id="8" name="Afbeelding 7">
            <a:extLst>
              <a:ext uri="{FF2B5EF4-FFF2-40B4-BE49-F238E27FC236}">
                <a16:creationId xmlns:a16="http://schemas.microsoft.com/office/drawing/2014/main" id="{243634EB-BE1D-36C2-2A41-29CA287F543E}"/>
              </a:ext>
            </a:extLst>
          </p:cNvPr>
          <p:cNvPicPr>
            <a:picLocks noChangeAspect="1"/>
          </p:cNvPicPr>
          <p:nvPr userDrawn="1"/>
        </p:nvPicPr>
        <p:blipFill>
          <a:blip r:embed="rId6"/>
          <a:srcRect/>
          <a:stretch/>
        </p:blipFill>
        <p:spPr>
          <a:xfrm>
            <a:off x="4420833" y="5976289"/>
            <a:ext cx="3520462" cy="709175"/>
          </a:xfrm>
          <a:prstGeom prst="rect">
            <a:avLst/>
          </a:prstGeom>
        </p:spPr>
      </p:pic>
    </p:spTree>
    <p:extLst>
      <p:ext uri="{BB962C8B-B14F-4D97-AF65-F5344CB8AC3E}">
        <p14:creationId xmlns:p14="http://schemas.microsoft.com/office/powerpoint/2010/main" val="22045004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F753E30-4FB2-4662-B536-F4777FA62694}"/>
              </a:ext>
            </a:extLst>
          </p:cNvPr>
          <p:cNvGraphicFramePr>
            <a:graphicFrameLocks noChangeAspect="1"/>
          </p:cNvGraphicFramePr>
          <p:nvPr userDrawn="1">
            <p:custDataLst>
              <p:tags r:id="rId1"/>
            </p:custDataLst>
            <p:extLst>
              <p:ext uri="{D42A27DB-BD31-4B8C-83A1-F6EECF244321}">
                <p14:modId xmlns:p14="http://schemas.microsoft.com/office/powerpoint/2010/main" val="3895207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6" name="Object 5" hidden="1">
                        <a:extLst>
                          <a:ext uri="{FF2B5EF4-FFF2-40B4-BE49-F238E27FC236}">
                            <a16:creationId xmlns:a16="http://schemas.microsoft.com/office/drawing/2014/main" id="{9F753E30-4FB2-4662-B536-F4777FA626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E8C5DBE-4949-453A-BF47-E2B622897558}"/>
              </a:ext>
            </a:extLst>
          </p:cNvPr>
          <p:cNvSpPr/>
          <p:nvPr userDrawn="1">
            <p:custDataLst>
              <p:tags r:id="rId2"/>
            </p:custDataLst>
          </p:nvPr>
        </p:nvSpPr>
        <p:spPr>
          <a:xfrm>
            <a:off x="0" y="0"/>
            <a:ext cx="158750" cy="15875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l-NL" sz="2200" b="0" i="0" baseline="0">
              <a:latin typeface="Franklin Gothic Book" panose="020B0503020102020204" pitchFamily="34" charset="0"/>
              <a:ea typeface="+mj-ea"/>
              <a:cs typeface="+mj-cs"/>
              <a:sym typeface="Franklin Gothic Book" panose="020B0503020102020204" pitchFamily="34" charset="0"/>
            </a:endParaRPr>
          </a:p>
        </p:txBody>
      </p:sp>
      <p:sp>
        <p:nvSpPr>
          <p:cNvPr id="5" name="Slide Number Placeholder 4"/>
          <p:cNvSpPr>
            <a:spLocks noGrp="1"/>
          </p:cNvSpPr>
          <p:nvPr>
            <p:ph type="sldNum" sz="quarter" idx="12"/>
          </p:nvPr>
        </p:nvSpPr>
        <p:spPr/>
        <p:txBody>
          <a:bodyPr/>
          <a:lstStyle/>
          <a:p>
            <a:fld id="{69E57DC2-970A-4B3E-BB1C-7A09969E49DF}" type="slidenum">
              <a:rPr lang="nl-NL" smtClean="0"/>
              <a:t>‹#›</a:t>
            </a:fld>
            <a:endParaRPr lang="nl-NL"/>
          </a:p>
        </p:txBody>
      </p:sp>
      <p:sp>
        <p:nvSpPr>
          <p:cNvPr id="2" name="Content Placeholder 2">
            <a:extLst>
              <a:ext uri="{FF2B5EF4-FFF2-40B4-BE49-F238E27FC236}">
                <a16:creationId xmlns:a16="http://schemas.microsoft.com/office/drawing/2014/main" id="{8532983F-F946-77CA-6173-9F3C6786A1CC}"/>
              </a:ext>
            </a:extLst>
          </p:cNvPr>
          <p:cNvSpPr>
            <a:spLocks noGrp="1"/>
          </p:cNvSpPr>
          <p:nvPr>
            <p:ph idx="1"/>
          </p:nvPr>
        </p:nvSpPr>
        <p:spPr>
          <a:xfrm>
            <a:off x="1371600" y="1304924"/>
            <a:ext cx="9946257" cy="5000985"/>
          </a:xfrm>
        </p:spPr>
        <p:txBody>
          <a:bodyPr/>
          <a:lstStyle>
            <a:lvl1pPr marL="342900" indent="-342900">
              <a:buFont typeface="Wingdings" panose="05000000000000000000" pitchFamily="2" charset="2"/>
              <a:buChar char="§"/>
              <a:defRPr/>
            </a:lvl1pPr>
            <a:lvl2pPr>
              <a:defRPr/>
            </a:lvl2pPr>
            <a:lvl3pPr>
              <a:defRPr/>
            </a:lvl3pPr>
            <a:lvl4pPr>
              <a:defRPr/>
            </a:lvl4pPr>
            <a:lvl5pPr>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8" name="Titel 7">
            <a:extLst>
              <a:ext uri="{FF2B5EF4-FFF2-40B4-BE49-F238E27FC236}">
                <a16:creationId xmlns:a16="http://schemas.microsoft.com/office/drawing/2014/main" id="{935D9107-71F8-A7BD-8CA1-D8EE209DD801}"/>
              </a:ext>
            </a:extLst>
          </p:cNvPr>
          <p:cNvSpPr>
            <a:spLocks noGrp="1"/>
          </p:cNvSpPr>
          <p:nvPr>
            <p:ph type="title"/>
          </p:nvPr>
        </p:nvSpPr>
        <p:spPr/>
        <p:txBody>
          <a:bodyPr/>
          <a:lstStyle/>
          <a:p>
            <a:r>
              <a:rPr lang="nl-NL"/>
              <a:t>Klik om stijl te bewerken</a:t>
            </a:r>
          </a:p>
        </p:txBody>
      </p:sp>
    </p:spTree>
    <p:extLst>
      <p:ext uri="{BB962C8B-B14F-4D97-AF65-F5344CB8AC3E}">
        <p14:creationId xmlns:p14="http://schemas.microsoft.com/office/powerpoint/2010/main" val="16998387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angepaste indel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692BDCB-1AF3-EACA-1040-1858FF01A75F}"/>
              </a:ext>
            </a:extLst>
          </p:cNvPr>
          <p:cNvSpPr>
            <a:spLocks noGrp="1"/>
          </p:cNvSpPr>
          <p:nvPr>
            <p:ph type="title"/>
          </p:nvPr>
        </p:nvSpPr>
        <p:spPr/>
        <p:txBody>
          <a:bodyPr/>
          <a:lstStyle/>
          <a:p>
            <a:r>
              <a:rPr lang="nl-NL"/>
              <a:t>Klik om stijl te bewerken</a:t>
            </a:r>
          </a:p>
        </p:txBody>
      </p:sp>
      <p:sp>
        <p:nvSpPr>
          <p:cNvPr id="3" name="Tijdelijke aanduiding voor dianummer 2">
            <a:extLst>
              <a:ext uri="{FF2B5EF4-FFF2-40B4-BE49-F238E27FC236}">
                <a16:creationId xmlns:a16="http://schemas.microsoft.com/office/drawing/2014/main" id="{734B47EE-16A4-1E08-A9A7-7C60A61F1257}"/>
              </a:ext>
            </a:extLst>
          </p:cNvPr>
          <p:cNvSpPr>
            <a:spLocks noGrp="1"/>
          </p:cNvSpPr>
          <p:nvPr>
            <p:ph type="sldNum" sz="quarter" idx="10"/>
          </p:nvPr>
        </p:nvSpPr>
        <p:spPr/>
        <p:txBody>
          <a:bodyPr/>
          <a:lstStyle/>
          <a:p>
            <a:fld id="{69E57DC2-970A-4B3E-BB1C-7A09969E49DF}" type="slidenum">
              <a:rPr lang="nl-NL" smtClean="0"/>
              <a:pPr/>
              <a:t>‹#›</a:t>
            </a:fld>
            <a:endParaRPr lang="nl-NL"/>
          </a:p>
        </p:txBody>
      </p:sp>
      <p:sp>
        <p:nvSpPr>
          <p:cNvPr id="9" name="Tijdelijke aanduiding voor afbeelding 8">
            <a:extLst>
              <a:ext uri="{FF2B5EF4-FFF2-40B4-BE49-F238E27FC236}">
                <a16:creationId xmlns:a16="http://schemas.microsoft.com/office/drawing/2014/main" id="{2B1DB1E3-842A-D6B9-BA43-3AC395ED274B}"/>
              </a:ext>
            </a:extLst>
          </p:cNvPr>
          <p:cNvSpPr>
            <a:spLocks noGrp="1"/>
          </p:cNvSpPr>
          <p:nvPr>
            <p:ph type="pic" sz="quarter" idx="12"/>
          </p:nvPr>
        </p:nvSpPr>
        <p:spPr>
          <a:xfrm>
            <a:off x="485140" y="1684020"/>
            <a:ext cx="5557520" cy="4206240"/>
          </a:xfrm>
          <a:ln w="3175">
            <a:noFill/>
          </a:ln>
        </p:spPr>
        <p:txBody>
          <a:bodyPr/>
          <a:lstStyle/>
          <a:p>
            <a:r>
              <a:rPr lang="nl-NL"/>
              <a:t>Klik op het pictogram als u een afbeelding wilt toevoegen</a:t>
            </a:r>
          </a:p>
        </p:txBody>
      </p:sp>
      <p:sp>
        <p:nvSpPr>
          <p:cNvPr id="15" name="Tijdelijke aanduiding voor tekst 14">
            <a:extLst>
              <a:ext uri="{FF2B5EF4-FFF2-40B4-BE49-F238E27FC236}">
                <a16:creationId xmlns:a16="http://schemas.microsoft.com/office/drawing/2014/main" id="{64996E7E-217D-303B-084C-1952D12CB397}"/>
              </a:ext>
            </a:extLst>
          </p:cNvPr>
          <p:cNvSpPr>
            <a:spLocks noGrp="1"/>
          </p:cNvSpPr>
          <p:nvPr>
            <p:ph type="body" sz="quarter" idx="13"/>
          </p:nvPr>
        </p:nvSpPr>
        <p:spPr>
          <a:xfrm>
            <a:off x="6378047" y="1684973"/>
            <a:ext cx="5343525" cy="4205287"/>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23041615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Aangepaste indel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692BDCB-1AF3-EACA-1040-1858FF01A75F}"/>
              </a:ext>
            </a:extLst>
          </p:cNvPr>
          <p:cNvSpPr>
            <a:spLocks noGrp="1"/>
          </p:cNvSpPr>
          <p:nvPr>
            <p:ph type="title"/>
          </p:nvPr>
        </p:nvSpPr>
        <p:spPr/>
        <p:txBody>
          <a:bodyPr/>
          <a:lstStyle/>
          <a:p>
            <a:r>
              <a:rPr lang="nl-NL"/>
              <a:t>Klik om stijl te bewerken</a:t>
            </a:r>
          </a:p>
        </p:txBody>
      </p:sp>
      <p:sp>
        <p:nvSpPr>
          <p:cNvPr id="3" name="Tijdelijke aanduiding voor dianummer 2">
            <a:extLst>
              <a:ext uri="{FF2B5EF4-FFF2-40B4-BE49-F238E27FC236}">
                <a16:creationId xmlns:a16="http://schemas.microsoft.com/office/drawing/2014/main" id="{734B47EE-16A4-1E08-A9A7-7C60A61F1257}"/>
              </a:ext>
            </a:extLst>
          </p:cNvPr>
          <p:cNvSpPr>
            <a:spLocks noGrp="1"/>
          </p:cNvSpPr>
          <p:nvPr>
            <p:ph type="sldNum" sz="quarter" idx="10"/>
          </p:nvPr>
        </p:nvSpPr>
        <p:spPr/>
        <p:txBody>
          <a:bodyPr/>
          <a:lstStyle/>
          <a:p>
            <a:fld id="{69E57DC2-970A-4B3E-BB1C-7A09969E49DF}" type="slidenum">
              <a:rPr lang="nl-NL" smtClean="0"/>
              <a:pPr/>
              <a:t>‹#›</a:t>
            </a:fld>
            <a:endParaRPr lang="nl-NL"/>
          </a:p>
        </p:txBody>
      </p:sp>
      <p:sp>
        <p:nvSpPr>
          <p:cNvPr id="9" name="Tijdelijke aanduiding voor afbeelding 8">
            <a:extLst>
              <a:ext uri="{FF2B5EF4-FFF2-40B4-BE49-F238E27FC236}">
                <a16:creationId xmlns:a16="http://schemas.microsoft.com/office/drawing/2014/main" id="{2B1DB1E3-842A-D6B9-BA43-3AC395ED274B}"/>
              </a:ext>
            </a:extLst>
          </p:cNvPr>
          <p:cNvSpPr>
            <a:spLocks noGrp="1"/>
          </p:cNvSpPr>
          <p:nvPr>
            <p:ph type="pic" sz="quarter" idx="12"/>
          </p:nvPr>
        </p:nvSpPr>
        <p:spPr>
          <a:xfrm>
            <a:off x="6088380" y="1684020"/>
            <a:ext cx="5557520" cy="4206240"/>
          </a:xfrm>
          <a:ln w="3175">
            <a:noFill/>
          </a:ln>
        </p:spPr>
        <p:txBody>
          <a:bodyPr/>
          <a:lstStyle/>
          <a:p>
            <a:r>
              <a:rPr lang="nl-NL"/>
              <a:t>Klik op het pictogram als u een afbeelding wilt toevoegen</a:t>
            </a:r>
          </a:p>
        </p:txBody>
      </p:sp>
      <p:sp>
        <p:nvSpPr>
          <p:cNvPr id="15" name="Tijdelijke aanduiding voor tekst 14">
            <a:extLst>
              <a:ext uri="{FF2B5EF4-FFF2-40B4-BE49-F238E27FC236}">
                <a16:creationId xmlns:a16="http://schemas.microsoft.com/office/drawing/2014/main" id="{64996E7E-217D-303B-084C-1952D12CB397}"/>
              </a:ext>
            </a:extLst>
          </p:cNvPr>
          <p:cNvSpPr>
            <a:spLocks noGrp="1"/>
          </p:cNvSpPr>
          <p:nvPr>
            <p:ph type="body" sz="quarter" idx="13"/>
          </p:nvPr>
        </p:nvSpPr>
        <p:spPr>
          <a:xfrm>
            <a:off x="1371599" y="1684020"/>
            <a:ext cx="4457066" cy="4205287"/>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18919898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Final slide">
    <p:bg>
      <p:bgPr>
        <a:solidFill>
          <a:schemeClr val="bg1"/>
        </a:solidFill>
        <a:effectLst/>
      </p:bgPr>
    </p:bg>
    <p:spTree>
      <p:nvGrpSpPr>
        <p:cNvPr id="1" name=""/>
        <p:cNvGrpSpPr/>
        <p:nvPr/>
      </p:nvGrpSpPr>
      <p:grpSpPr>
        <a:xfrm>
          <a:off x="0" y="0"/>
          <a:ext cx="0" cy="0"/>
          <a:chOff x="0" y="0"/>
          <a:chExt cx="0" cy="0"/>
        </a:xfrm>
      </p:grpSpPr>
      <p:sp>
        <p:nvSpPr>
          <p:cNvPr id="3" name="Rechthoek: afgeronde hoeken 5">
            <a:extLst>
              <a:ext uri="{FF2B5EF4-FFF2-40B4-BE49-F238E27FC236}">
                <a16:creationId xmlns:a16="http://schemas.microsoft.com/office/drawing/2014/main" id="{BE0630E5-4DA2-F0C9-748C-D6BE68E0E4B3}"/>
              </a:ext>
            </a:extLst>
          </p:cNvPr>
          <p:cNvSpPr/>
          <p:nvPr userDrawn="1"/>
        </p:nvSpPr>
        <p:spPr>
          <a:xfrm flipH="1">
            <a:off x="460857" y="-73152"/>
            <a:ext cx="11850624" cy="5868000"/>
          </a:xfrm>
          <a:custGeom>
            <a:avLst/>
            <a:gdLst>
              <a:gd name="connsiteX0" fmla="*/ 0 w 11730969"/>
              <a:gd name="connsiteY0" fmla="*/ 970299 h 5821680"/>
              <a:gd name="connsiteX1" fmla="*/ 970299 w 11730969"/>
              <a:gd name="connsiteY1" fmla="*/ 0 h 5821680"/>
              <a:gd name="connsiteX2" fmla="*/ 10760670 w 11730969"/>
              <a:gd name="connsiteY2" fmla="*/ 0 h 5821680"/>
              <a:gd name="connsiteX3" fmla="*/ 11730969 w 11730969"/>
              <a:gd name="connsiteY3" fmla="*/ 970299 h 5821680"/>
              <a:gd name="connsiteX4" fmla="*/ 11730969 w 11730969"/>
              <a:gd name="connsiteY4" fmla="*/ 4851381 h 5821680"/>
              <a:gd name="connsiteX5" fmla="*/ 10760670 w 11730969"/>
              <a:gd name="connsiteY5" fmla="*/ 5821680 h 5821680"/>
              <a:gd name="connsiteX6" fmla="*/ 970299 w 11730969"/>
              <a:gd name="connsiteY6" fmla="*/ 5821680 h 5821680"/>
              <a:gd name="connsiteX7" fmla="*/ 0 w 11730969"/>
              <a:gd name="connsiteY7" fmla="*/ 4851381 h 5821680"/>
              <a:gd name="connsiteX8" fmla="*/ 0 w 11730969"/>
              <a:gd name="connsiteY8" fmla="*/ 970299 h 5821680"/>
              <a:gd name="connsiteX0" fmla="*/ 0 w 11730969"/>
              <a:gd name="connsiteY0" fmla="*/ 970299 h 5821680"/>
              <a:gd name="connsiteX1" fmla="*/ 970299 w 11730969"/>
              <a:gd name="connsiteY1" fmla="*/ 0 h 5821680"/>
              <a:gd name="connsiteX2" fmla="*/ 11730969 w 11730969"/>
              <a:gd name="connsiteY2" fmla="*/ 970299 h 5821680"/>
              <a:gd name="connsiteX3" fmla="*/ 11730969 w 11730969"/>
              <a:gd name="connsiteY3" fmla="*/ 4851381 h 5821680"/>
              <a:gd name="connsiteX4" fmla="*/ 10760670 w 11730969"/>
              <a:gd name="connsiteY4" fmla="*/ 5821680 h 5821680"/>
              <a:gd name="connsiteX5" fmla="*/ 970299 w 11730969"/>
              <a:gd name="connsiteY5" fmla="*/ 5821680 h 5821680"/>
              <a:gd name="connsiteX6" fmla="*/ 0 w 11730969"/>
              <a:gd name="connsiteY6" fmla="*/ 4851381 h 5821680"/>
              <a:gd name="connsiteX7" fmla="*/ 0 w 11730969"/>
              <a:gd name="connsiteY7" fmla="*/ 970299 h 5821680"/>
              <a:gd name="connsiteX0" fmla="*/ 0 w 11730969"/>
              <a:gd name="connsiteY0" fmla="*/ 970299 h 5821680"/>
              <a:gd name="connsiteX1" fmla="*/ 970299 w 11730969"/>
              <a:gd name="connsiteY1" fmla="*/ 0 h 5821680"/>
              <a:gd name="connsiteX2" fmla="*/ 11723349 w 11730969"/>
              <a:gd name="connsiteY2" fmla="*/ 2559 h 5821680"/>
              <a:gd name="connsiteX3" fmla="*/ 11730969 w 11730969"/>
              <a:gd name="connsiteY3" fmla="*/ 4851381 h 5821680"/>
              <a:gd name="connsiteX4" fmla="*/ 10760670 w 11730969"/>
              <a:gd name="connsiteY4" fmla="*/ 5821680 h 5821680"/>
              <a:gd name="connsiteX5" fmla="*/ 970299 w 11730969"/>
              <a:gd name="connsiteY5" fmla="*/ 5821680 h 5821680"/>
              <a:gd name="connsiteX6" fmla="*/ 0 w 11730969"/>
              <a:gd name="connsiteY6" fmla="*/ 4851381 h 5821680"/>
              <a:gd name="connsiteX7" fmla="*/ 0 w 11730969"/>
              <a:gd name="connsiteY7" fmla="*/ 970299 h 5821680"/>
              <a:gd name="connsiteX0" fmla="*/ 0 w 11730969"/>
              <a:gd name="connsiteY0" fmla="*/ 4851381 h 5821680"/>
              <a:gd name="connsiteX1" fmla="*/ 970299 w 11730969"/>
              <a:gd name="connsiteY1" fmla="*/ 0 h 5821680"/>
              <a:gd name="connsiteX2" fmla="*/ 11723349 w 11730969"/>
              <a:gd name="connsiteY2" fmla="*/ 2559 h 5821680"/>
              <a:gd name="connsiteX3" fmla="*/ 11730969 w 11730969"/>
              <a:gd name="connsiteY3" fmla="*/ 4851381 h 5821680"/>
              <a:gd name="connsiteX4" fmla="*/ 10760670 w 11730969"/>
              <a:gd name="connsiteY4" fmla="*/ 5821680 h 5821680"/>
              <a:gd name="connsiteX5" fmla="*/ 970299 w 11730969"/>
              <a:gd name="connsiteY5" fmla="*/ 5821680 h 5821680"/>
              <a:gd name="connsiteX6" fmla="*/ 0 w 11730969"/>
              <a:gd name="connsiteY6" fmla="*/ 4851381 h 5821680"/>
              <a:gd name="connsiteX0" fmla="*/ 0 w 11730969"/>
              <a:gd name="connsiteY0" fmla="*/ 4859001 h 5829300"/>
              <a:gd name="connsiteX1" fmla="*/ 2559 w 11730969"/>
              <a:gd name="connsiteY1" fmla="*/ 0 h 5829300"/>
              <a:gd name="connsiteX2" fmla="*/ 11723349 w 11730969"/>
              <a:gd name="connsiteY2" fmla="*/ 10179 h 5829300"/>
              <a:gd name="connsiteX3" fmla="*/ 11730969 w 11730969"/>
              <a:gd name="connsiteY3" fmla="*/ 4859001 h 5829300"/>
              <a:gd name="connsiteX4" fmla="*/ 10760670 w 11730969"/>
              <a:gd name="connsiteY4" fmla="*/ 5829300 h 5829300"/>
              <a:gd name="connsiteX5" fmla="*/ 970299 w 11730969"/>
              <a:gd name="connsiteY5" fmla="*/ 5829300 h 5829300"/>
              <a:gd name="connsiteX6" fmla="*/ 0 w 11730969"/>
              <a:gd name="connsiteY6" fmla="*/ 4859001 h 5829300"/>
              <a:gd name="connsiteX0" fmla="*/ 1921896 w 12682566"/>
              <a:gd name="connsiteY0" fmla="*/ 5829300 h 5829300"/>
              <a:gd name="connsiteX1" fmla="*/ 954156 w 12682566"/>
              <a:gd name="connsiteY1" fmla="*/ 0 h 5829300"/>
              <a:gd name="connsiteX2" fmla="*/ 12674946 w 12682566"/>
              <a:gd name="connsiteY2" fmla="*/ 10179 h 5829300"/>
              <a:gd name="connsiteX3" fmla="*/ 12682566 w 12682566"/>
              <a:gd name="connsiteY3" fmla="*/ 4859001 h 5829300"/>
              <a:gd name="connsiteX4" fmla="*/ 11712267 w 12682566"/>
              <a:gd name="connsiteY4" fmla="*/ 5829300 h 5829300"/>
              <a:gd name="connsiteX5" fmla="*/ 1921896 w 12682566"/>
              <a:gd name="connsiteY5" fmla="*/ 5829300 h 5829300"/>
              <a:gd name="connsiteX0" fmla="*/ 1336853 w 13080503"/>
              <a:gd name="connsiteY0" fmla="*/ 5814060 h 5829300"/>
              <a:gd name="connsiteX1" fmla="*/ 1352093 w 13080503"/>
              <a:gd name="connsiteY1" fmla="*/ 0 h 5829300"/>
              <a:gd name="connsiteX2" fmla="*/ 13072883 w 13080503"/>
              <a:gd name="connsiteY2" fmla="*/ 10179 h 5829300"/>
              <a:gd name="connsiteX3" fmla="*/ 13080503 w 13080503"/>
              <a:gd name="connsiteY3" fmla="*/ 4859001 h 5829300"/>
              <a:gd name="connsiteX4" fmla="*/ 12110204 w 13080503"/>
              <a:gd name="connsiteY4" fmla="*/ 5829300 h 5829300"/>
              <a:gd name="connsiteX5" fmla="*/ 1336853 w 13080503"/>
              <a:gd name="connsiteY5" fmla="*/ 5814060 h 5829300"/>
              <a:gd name="connsiteX0" fmla="*/ 778979 w 12522629"/>
              <a:gd name="connsiteY0" fmla="*/ 5814060 h 5829300"/>
              <a:gd name="connsiteX1" fmla="*/ 794219 w 12522629"/>
              <a:gd name="connsiteY1" fmla="*/ 0 h 5829300"/>
              <a:gd name="connsiteX2" fmla="*/ 12515009 w 12522629"/>
              <a:gd name="connsiteY2" fmla="*/ 10179 h 5829300"/>
              <a:gd name="connsiteX3" fmla="*/ 12522629 w 12522629"/>
              <a:gd name="connsiteY3" fmla="*/ 4859001 h 5829300"/>
              <a:gd name="connsiteX4" fmla="*/ 11552330 w 12522629"/>
              <a:gd name="connsiteY4" fmla="*/ 5829300 h 5829300"/>
              <a:gd name="connsiteX5" fmla="*/ 778979 w 12522629"/>
              <a:gd name="connsiteY5" fmla="*/ 5814060 h 5829300"/>
              <a:gd name="connsiteX0" fmla="*/ 0 w 11743650"/>
              <a:gd name="connsiteY0" fmla="*/ 5814060 h 5829300"/>
              <a:gd name="connsiteX1" fmla="*/ 15240 w 11743650"/>
              <a:gd name="connsiteY1" fmla="*/ 0 h 5829300"/>
              <a:gd name="connsiteX2" fmla="*/ 11736030 w 11743650"/>
              <a:gd name="connsiteY2" fmla="*/ 10179 h 5829300"/>
              <a:gd name="connsiteX3" fmla="*/ 11743650 w 11743650"/>
              <a:gd name="connsiteY3" fmla="*/ 4859001 h 5829300"/>
              <a:gd name="connsiteX4" fmla="*/ 10773351 w 11743650"/>
              <a:gd name="connsiteY4" fmla="*/ 5829300 h 5829300"/>
              <a:gd name="connsiteX5" fmla="*/ 0 w 11743650"/>
              <a:gd name="connsiteY5" fmla="*/ 5814060 h 582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43650" h="5829300">
                <a:moveTo>
                  <a:pt x="0" y="5814060"/>
                </a:moveTo>
                <a:cubicBezTo>
                  <a:pt x="28161" y="5802630"/>
                  <a:pt x="13765" y="40213"/>
                  <a:pt x="15240" y="0"/>
                </a:cubicBezTo>
                <a:lnTo>
                  <a:pt x="11736030" y="10179"/>
                </a:lnTo>
                <a:lnTo>
                  <a:pt x="11743650" y="4859001"/>
                </a:lnTo>
                <a:cubicBezTo>
                  <a:pt x="11743650" y="5394882"/>
                  <a:pt x="11309232" y="5829300"/>
                  <a:pt x="10773351" y="5829300"/>
                </a:cubicBezTo>
                <a:lnTo>
                  <a:pt x="0" y="5814060"/>
                </a:lnTo>
                <a:close/>
              </a:path>
            </a:pathLst>
          </a:custGeom>
          <a:blipFill dpi="0" rotWithShape="0">
            <a:blip r:embed="rId3">
              <a:alphaModFix amt="28000"/>
            </a:blip>
            <a:srcRect/>
            <a:stretch>
              <a:fillRect l="-845" t="-13329" r="-845" b="-6303"/>
            </a:stretch>
          </a:blipFill>
          <a:ln w="3175">
            <a:solidFill>
              <a:srgbClr val="6DAE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aphicFrame>
        <p:nvGraphicFramePr>
          <p:cNvPr id="4" name="Object 3" hidden="1">
            <a:extLst>
              <a:ext uri="{FF2B5EF4-FFF2-40B4-BE49-F238E27FC236}">
                <a16:creationId xmlns:a16="http://schemas.microsoft.com/office/drawing/2014/main" id="{F1F48820-9A89-47EA-9B89-BCC72D76BB70}"/>
              </a:ext>
            </a:extLst>
          </p:cNvPr>
          <p:cNvGraphicFramePr>
            <a:graphicFrameLocks noChangeAspect="1"/>
          </p:cNvGraphicFramePr>
          <p:nvPr userDrawn="1">
            <p:custDataLst>
              <p:tags r:id="rId1"/>
            </p:custDataLst>
            <p:extLst>
              <p:ext uri="{D42A27DB-BD31-4B8C-83A1-F6EECF244321}">
                <p14:modId xmlns:p14="http://schemas.microsoft.com/office/powerpoint/2010/main" val="1399488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4" name="Object 3" hidden="1">
                        <a:extLst>
                          <a:ext uri="{FF2B5EF4-FFF2-40B4-BE49-F238E27FC236}">
                            <a16:creationId xmlns:a16="http://schemas.microsoft.com/office/drawing/2014/main" id="{F1F48820-9A89-47EA-9B89-BCC72D76BB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7" name="Rechte verbindingslijn 6">
            <a:extLst>
              <a:ext uri="{FF2B5EF4-FFF2-40B4-BE49-F238E27FC236}">
                <a16:creationId xmlns:a16="http://schemas.microsoft.com/office/drawing/2014/main" id="{97DFF077-D3F1-7E35-FCA1-8721118F21C4}"/>
              </a:ext>
            </a:extLst>
          </p:cNvPr>
          <p:cNvCxnSpPr>
            <a:cxnSpLocks/>
          </p:cNvCxnSpPr>
          <p:nvPr userDrawn="1"/>
        </p:nvCxnSpPr>
        <p:spPr>
          <a:xfrm flipV="1">
            <a:off x="11291995" y="698305"/>
            <a:ext cx="0" cy="1203675"/>
          </a:xfrm>
          <a:prstGeom prst="line">
            <a:avLst/>
          </a:prstGeom>
          <a:ln w="12700">
            <a:solidFill>
              <a:srgbClr val="65B2E8"/>
            </a:solidFill>
          </a:ln>
        </p:spPr>
        <p:style>
          <a:lnRef idx="1">
            <a:schemeClr val="accent1"/>
          </a:lnRef>
          <a:fillRef idx="0">
            <a:schemeClr val="accent1"/>
          </a:fillRef>
          <a:effectRef idx="0">
            <a:schemeClr val="accent1"/>
          </a:effectRef>
          <a:fontRef idx="minor">
            <a:schemeClr val="tx1"/>
          </a:fontRef>
        </p:style>
      </p:cxnSp>
      <p:pic>
        <p:nvPicPr>
          <p:cNvPr id="5" name="Afbeelding 4">
            <a:extLst>
              <a:ext uri="{FF2B5EF4-FFF2-40B4-BE49-F238E27FC236}">
                <a16:creationId xmlns:a16="http://schemas.microsoft.com/office/drawing/2014/main" id="{39A9E8EE-911C-A462-37C5-CE821CB04261}"/>
              </a:ext>
            </a:extLst>
          </p:cNvPr>
          <p:cNvPicPr>
            <a:picLocks noChangeAspect="1"/>
          </p:cNvPicPr>
          <p:nvPr userDrawn="1"/>
        </p:nvPicPr>
        <p:blipFill>
          <a:blip r:embed="rId6"/>
          <a:srcRect/>
          <a:stretch/>
        </p:blipFill>
        <p:spPr>
          <a:xfrm>
            <a:off x="4420833" y="5976289"/>
            <a:ext cx="3520462" cy="709175"/>
          </a:xfrm>
          <a:prstGeom prst="rect">
            <a:avLst/>
          </a:prstGeom>
        </p:spPr>
      </p:pic>
    </p:spTree>
    <p:extLst>
      <p:ext uri="{BB962C8B-B14F-4D97-AF65-F5344CB8AC3E}">
        <p14:creationId xmlns:p14="http://schemas.microsoft.com/office/powerpoint/2010/main" val="35477512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el en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F95FABE-94F3-4DE8-855D-EB964328457D}"/>
              </a:ext>
            </a:extLst>
          </p:cNvPr>
          <p:cNvGraphicFramePr>
            <a:graphicFrameLocks noChangeAspect="1"/>
          </p:cNvGraphicFramePr>
          <p:nvPr userDrawn="1">
            <p:custDataLst>
              <p:tags r:id="rId1"/>
            </p:custDataLst>
            <p:extLst>
              <p:ext uri="{D42A27DB-BD31-4B8C-83A1-F6EECF244321}">
                <p14:modId xmlns:p14="http://schemas.microsoft.com/office/powerpoint/2010/main" val="1552070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7" name="Object 6" hidden="1">
                        <a:extLst>
                          <a:ext uri="{FF2B5EF4-FFF2-40B4-BE49-F238E27FC236}">
                            <a16:creationId xmlns:a16="http://schemas.microsoft.com/office/drawing/2014/main" id="{AF95FABE-94F3-4DE8-855D-EB964328457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E8067C1-A521-45F5-8D2F-CF3A50066AC0}"/>
              </a:ext>
            </a:extLst>
          </p:cNvPr>
          <p:cNvSpPr/>
          <p:nvPr userDrawn="1">
            <p:custDataLst>
              <p:tags r:id="rId2"/>
            </p:custDataLst>
          </p:nvPr>
        </p:nvSpPr>
        <p:spPr>
          <a:xfrm>
            <a:off x="0" y="0"/>
            <a:ext cx="158750" cy="15875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l-NL" sz="2200" b="0" i="0" baseline="0">
              <a:latin typeface="Franklin Gothic Book" panose="020B0503020102020204" pitchFamily="34" charset="0"/>
              <a:ea typeface="+mj-ea"/>
              <a:cs typeface="+mj-cs"/>
              <a:sym typeface="Franklin Gothic Book" panose="020B0503020102020204" pitchFamily="34" charset="0"/>
            </a:endParaRPr>
          </a:p>
        </p:txBody>
      </p:sp>
      <p:sp>
        <p:nvSpPr>
          <p:cNvPr id="2" name="Title 1"/>
          <p:cNvSpPr>
            <a:spLocks noGrp="1"/>
          </p:cNvSpPr>
          <p:nvPr>
            <p:ph type="title" hasCustomPrompt="1"/>
          </p:nvPr>
        </p:nvSpPr>
        <p:spPr>
          <a:xfrm>
            <a:off x="1371600" y="297237"/>
            <a:ext cx="9946257" cy="755650"/>
          </a:xfrm>
        </p:spPr>
        <p:txBody>
          <a:bodyPr lIns="0" rIns="0">
            <a:normAutofit/>
          </a:bodyPr>
          <a:lstStyle>
            <a:lvl1pPr>
              <a:defRPr sz="2800">
                <a:solidFill>
                  <a:schemeClr val="tx2"/>
                </a:solidFill>
              </a:defRPr>
            </a:lvl1pPr>
          </a:lstStyle>
          <a:p>
            <a:r>
              <a:rPr lang="nl-NL"/>
              <a:t>Klikken om een titel toe te voegen</a:t>
            </a:r>
          </a:p>
        </p:txBody>
      </p:sp>
      <p:sp>
        <p:nvSpPr>
          <p:cNvPr id="3" name="Content Placeholder 2"/>
          <p:cNvSpPr>
            <a:spLocks noGrp="1"/>
          </p:cNvSpPr>
          <p:nvPr>
            <p:ph idx="1" hasCustomPrompt="1"/>
          </p:nvPr>
        </p:nvSpPr>
        <p:spPr>
          <a:xfrm>
            <a:off x="1371600" y="1304924"/>
            <a:ext cx="9946257" cy="5000985"/>
          </a:xfrm>
        </p:spPr>
        <p:txBody>
          <a:bodyPr/>
          <a:lstStyle>
            <a:lvl1pPr>
              <a:defRPr/>
            </a:lvl1pPr>
            <a:lvl2pPr>
              <a:defRPr/>
            </a:lvl2pPr>
            <a:lvl3pPr>
              <a:defRPr/>
            </a:lvl3pPr>
            <a:lvl4pPr>
              <a:defRPr/>
            </a:lvl4pPr>
            <a:lvl5pPr>
              <a:defRPr/>
            </a:lvl5pPr>
          </a:lstStyle>
          <a:p>
            <a:pPr lvl="0"/>
            <a:r>
              <a:rPr lang="nl-NL"/>
              <a:t>Klikken om tekst toe te voegen</a:t>
            </a:r>
          </a:p>
          <a:p>
            <a:pPr lvl="1"/>
            <a:r>
              <a:rPr lang="nl-NL"/>
              <a:t>Tweede level</a:t>
            </a:r>
          </a:p>
          <a:p>
            <a:pPr lvl="2"/>
            <a:r>
              <a:rPr lang="nl-NL"/>
              <a:t>Derde level</a:t>
            </a:r>
          </a:p>
          <a:p>
            <a:pPr lvl="3"/>
            <a:r>
              <a:rPr lang="nl-NL"/>
              <a:t>Vierde level</a:t>
            </a:r>
          </a:p>
          <a:p>
            <a:pPr lvl="4"/>
            <a:r>
              <a:rPr lang="nl-NL"/>
              <a:t>Vijfde level</a:t>
            </a:r>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69E57DC2-970A-4B3E-BB1C-7A09969E49DF}" type="slidenum">
              <a:rPr lang="nl-NL" smtClean="0"/>
              <a:t>‹#›</a:t>
            </a:fld>
            <a:endParaRPr lang="nl-NL"/>
          </a:p>
        </p:txBody>
      </p:sp>
    </p:spTree>
    <p:extLst>
      <p:ext uri="{BB962C8B-B14F-4D97-AF65-F5344CB8AC3E}">
        <p14:creationId xmlns:p14="http://schemas.microsoft.com/office/powerpoint/2010/main" val="2110949900"/>
      </p:ext>
    </p:extLst>
  </p:cSld>
  <p:clrMapOvr>
    <a:masterClrMapping/>
  </p:clrMapOvr>
  <p:extLst>
    <p:ext uri="{DCECCB84-F9BA-43D5-87BE-67443E8EF086}">
      <p15:sldGuideLst xmlns:p15="http://schemas.microsoft.com/office/powerpoint/2012/main">
        <p15:guide id="1" pos="415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Alleen titel">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F753E30-4FB2-4662-B536-F4777FA62694}"/>
              </a:ext>
            </a:extLst>
          </p:cNvPr>
          <p:cNvGraphicFramePr>
            <a:graphicFrameLocks noChangeAspect="1"/>
          </p:cNvGraphicFramePr>
          <p:nvPr userDrawn="1">
            <p:custDataLst>
              <p:tags r:id="rId1"/>
            </p:custDataLst>
            <p:extLst>
              <p:ext uri="{D42A27DB-BD31-4B8C-83A1-F6EECF244321}">
                <p14:modId xmlns:p14="http://schemas.microsoft.com/office/powerpoint/2010/main" val="3895207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6" name="Object 5" hidden="1">
                        <a:extLst>
                          <a:ext uri="{FF2B5EF4-FFF2-40B4-BE49-F238E27FC236}">
                            <a16:creationId xmlns:a16="http://schemas.microsoft.com/office/drawing/2014/main" id="{9F753E30-4FB2-4662-B536-F4777FA626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E8C5DBE-4949-453A-BF47-E2B622897558}"/>
              </a:ext>
            </a:extLst>
          </p:cNvPr>
          <p:cNvSpPr/>
          <p:nvPr userDrawn="1">
            <p:custDataLst>
              <p:tags r:id="rId2"/>
            </p:custDataLst>
          </p:nvPr>
        </p:nvSpPr>
        <p:spPr>
          <a:xfrm>
            <a:off x="0" y="0"/>
            <a:ext cx="158750" cy="15875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l-NL" sz="2200" b="0" i="0" baseline="0">
              <a:latin typeface="Franklin Gothic Book" panose="020B0503020102020204" pitchFamily="34" charset="0"/>
              <a:ea typeface="+mj-ea"/>
              <a:cs typeface="+mj-cs"/>
              <a:sym typeface="Franklin Gothic Book" panose="020B0503020102020204" pitchFamily="34" charset="0"/>
            </a:endParaRPr>
          </a:p>
        </p:txBody>
      </p:sp>
      <p:sp>
        <p:nvSpPr>
          <p:cNvPr id="5" name="Slide Number Placeholder 4"/>
          <p:cNvSpPr>
            <a:spLocks noGrp="1"/>
          </p:cNvSpPr>
          <p:nvPr>
            <p:ph type="sldNum" sz="quarter" idx="12"/>
          </p:nvPr>
        </p:nvSpPr>
        <p:spPr/>
        <p:txBody>
          <a:bodyPr/>
          <a:lstStyle/>
          <a:p>
            <a:fld id="{69E57DC2-970A-4B3E-BB1C-7A09969E49DF}" type="slidenum">
              <a:rPr lang="nl-NL" smtClean="0"/>
              <a:t>‹#›</a:t>
            </a:fld>
            <a:endParaRPr lang="nl-NL"/>
          </a:p>
        </p:txBody>
      </p:sp>
      <p:sp>
        <p:nvSpPr>
          <p:cNvPr id="2" name="Content Placeholder 2">
            <a:extLst>
              <a:ext uri="{FF2B5EF4-FFF2-40B4-BE49-F238E27FC236}">
                <a16:creationId xmlns:a16="http://schemas.microsoft.com/office/drawing/2014/main" id="{8532983F-F946-77CA-6173-9F3C6786A1CC}"/>
              </a:ext>
            </a:extLst>
          </p:cNvPr>
          <p:cNvSpPr>
            <a:spLocks noGrp="1"/>
          </p:cNvSpPr>
          <p:nvPr>
            <p:ph idx="1"/>
          </p:nvPr>
        </p:nvSpPr>
        <p:spPr>
          <a:xfrm>
            <a:off x="1371600" y="1304924"/>
            <a:ext cx="9946257" cy="5000985"/>
          </a:xfrm>
        </p:spPr>
        <p:txBody>
          <a:bodyPr/>
          <a:lstStyle>
            <a:lvl1pPr marL="0" indent="0">
              <a:buFont typeface="Wingdings" panose="05000000000000000000" pitchFamily="2" charset="2"/>
              <a:buNone/>
              <a:defRPr/>
            </a:lvl1pPr>
            <a:lvl2pPr>
              <a:defRPr i="0"/>
            </a:lvl2pPr>
            <a:lvl3pPr marL="898525" indent="-360363">
              <a:tabLst/>
              <a:defRPr i="1"/>
            </a:lvl3pPr>
            <a:lvl4pPr marL="1616075" indent="-358775">
              <a:defRPr i="0"/>
            </a:lvl4pPr>
            <a:lvl5pPr>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8" name="Titel 7">
            <a:extLst>
              <a:ext uri="{FF2B5EF4-FFF2-40B4-BE49-F238E27FC236}">
                <a16:creationId xmlns:a16="http://schemas.microsoft.com/office/drawing/2014/main" id="{935D9107-71F8-A7BD-8CA1-D8EE209DD801}"/>
              </a:ext>
            </a:extLst>
          </p:cNvPr>
          <p:cNvSpPr>
            <a:spLocks noGrp="1"/>
          </p:cNvSpPr>
          <p:nvPr>
            <p:ph type="title"/>
          </p:nvPr>
        </p:nvSpPr>
        <p:spPr/>
        <p:txBody>
          <a:bodyPr/>
          <a:lstStyle/>
          <a:p>
            <a:r>
              <a:rPr lang="nl-NL"/>
              <a:t>Klik om stijl te bewerken</a:t>
            </a:r>
          </a:p>
        </p:txBody>
      </p:sp>
    </p:spTree>
    <p:extLst>
      <p:ext uri="{BB962C8B-B14F-4D97-AF65-F5344CB8AC3E}">
        <p14:creationId xmlns:p14="http://schemas.microsoft.com/office/powerpoint/2010/main" val="14820524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Alleen titel">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F753E30-4FB2-4662-B536-F4777FA62694}"/>
              </a:ext>
            </a:extLst>
          </p:cNvPr>
          <p:cNvGraphicFramePr>
            <a:graphicFrameLocks noChangeAspect="1"/>
          </p:cNvGraphicFramePr>
          <p:nvPr userDrawn="1">
            <p:custDataLst>
              <p:tags r:id="rId1"/>
            </p:custDataLst>
            <p:extLst>
              <p:ext uri="{D42A27DB-BD31-4B8C-83A1-F6EECF244321}">
                <p14:modId xmlns:p14="http://schemas.microsoft.com/office/powerpoint/2010/main" val="3895207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6" name="Object 5" hidden="1">
                        <a:extLst>
                          <a:ext uri="{FF2B5EF4-FFF2-40B4-BE49-F238E27FC236}">
                            <a16:creationId xmlns:a16="http://schemas.microsoft.com/office/drawing/2014/main" id="{9F753E30-4FB2-4662-B536-F4777FA626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E8C5DBE-4949-453A-BF47-E2B622897558}"/>
              </a:ext>
            </a:extLst>
          </p:cNvPr>
          <p:cNvSpPr/>
          <p:nvPr userDrawn="1">
            <p:custDataLst>
              <p:tags r:id="rId2"/>
            </p:custDataLst>
          </p:nvPr>
        </p:nvSpPr>
        <p:spPr>
          <a:xfrm>
            <a:off x="0" y="0"/>
            <a:ext cx="158750" cy="15875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l-NL" sz="2200" b="0" i="0" baseline="0">
              <a:latin typeface="Franklin Gothic Book" panose="020B0503020102020204" pitchFamily="34" charset="0"/>
              <a:ea typeface="+mj-ea"/>
              <a:cs typeface="+mj-cs"/>
              <a:sym typeface="Franklin Gothic Book" panose="020B0503020102020204" pitchFamily="34" charset="0"/>
            </a:endParaRPr>
          </a:p>
        </p:txBody>
      </p:sp>
      <p:sp>
        <p:nvSpPr>
          <p:cNvPr id="4" name="Footer Placeholder 3"/>
          <p:cNvSpPr>
            <a:spLocks noGrp="1"/>
          </p:cNvSpPr>
          <p:nvPr>
            <p:ph type="ftr" sz="quarter" idx="11"/>
          </p:nvPr>
        </p:nvSpPr>
        <p:spPr/>
        <p:txBody>
          <a:bodyPr/>
          <a:lstStyle/>
          <a:p>
            <a:endParaRPr lang="nl-NL"/>
          </a:p>
        </p:txBody>
      </p:sp>
      <p:sp>
        <p:nvSpPr>
          <p:cNvPr id="5" name="Slide Number Placeholder 4"/>
          <p:cNvSpPr>
            <a:spLocks noGrp="1"/>
          </p:cNvSpPr>
          <p:nvPr>
            <p:ph type="sldNum" sz="quarter" idx="12"/>
          </p:nvPr>
        </p:nvSpPr>
        <p:spPr/>
        <p:txBody>
          <a:bodyPr/>
          <a:lstStyle/>
          <a:p>
            <a:fld id="{69E57DC2-970A-4B3E-BB1C-7A09969E49DF}" type="slidenum">
              <a:rPr lang="nl-NL" smtClean="0"/>
              <a:t>‹#›</a:t>
            </a:fld>
            <a:endParaRPr lang="nl-NL"/>
          </a:p>
        </p:txBody>
      </p:sp>
      <p:sp>
        <p:nvSpPr>
          <p:cNvPr id="10" name="Title 1">
            <a:extLst>
              <a:ext uri="{FF2B5EF4-FFF2-40B4-BE49-F238E27FC236}">
                <a16:creationId xmlns:a16="http://schemas.microsoft.com/office/drawing/2014/main" id="{B261EA94-F447-9C41-D222-D446B3A16874}"/>
              </a:ext>
            </a:extLst>
          </p:cNvPr>
          <p:cNvSpPr>
            <a:spLocks noGrp="1"/>
          </p:cNvSpPr>
          <p:nvPr>
            <p:ph type="title" hasCustomPrompt="1"/>
          </p:nvPr>
        </p:nvSpPr>
        <p:spPr>
          <a:xfrm>
            <a:off x="1371600" y="261377"/>
            <a:ext cx="9946257" cy="755650"/>
          </a:xfrm>
        </p:spPr>
        <p:txBody>
          <a:bodyPr lIns="0" rIns="0">
            <a:normAutofit/>
          </a:bodyPr>
          <a:lstStyle>
            <a:lvl1pPr>
              <a:defRPr sz="2800">
                <a:solidFill>
                  <a:schemeClr val="tx2"/>
                </a:solidFill>
              </a:defRPr>
            </a:lvl1pPr>
          </a:lstStyle>
          <a:p>
            <a:r>
              <a:rPr lang="nl-NL"/>
              <a:t>Klikken om een titel toe te voegen</a:t>
            </a:r>
          </a:p>
        </p:txBody>
      </p:sp>
    </p:spTree>
    <p:extLst>
      <p:ext uri="{BB962C8B-B14F-4D97-AF65-F5344CB8AC3E}">
        <p14:creationId xmlns:p14="http://schemas.microsoft.com/office/powerpoint/2010/main" val="27815316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9" name="Rechthoek: afgeronde hoeken 18">
            <a:extLst>
              <a:ext uri="{FF2B5EF4-FFF2-40B4-BE49-F238E27FC236}">
                <a16:creationId xmlns:a16="http://schemas.microsoft.com/office/drawing/2014/main" id="{9DDC854F-528F-F84A-B98F-66875A90A5D7}"/>
              </a:ext>
            </a:extLst>
          </p:cNvPr>
          <p:cNvSpPr/>
          <p:nvPr userDrawn="1"/>
        </p:nvSpPr>
        <p:spPr>
          <a:xfrm>
            <a:off x="-24377" y="-34918"/>
            <a:ext cx="10703014" cy="1042536"/>
          </a:xfrm>
          <a:custGeom>
            <a:avLst/>
            <a:gdLst>
              <a:gd name="connsiteX0" fmla="*/ 0 w 10972800"/>
              <a:gd name="connsiteY0" fmla="*/ 270939 h 1625600"/>
              <a:gd name="connsiteX1" fmla="*/ 270939 w 10972800"/>
              <a:gd name="connsiteY1" fmla="*/ 0 h 1625600"/>
              <a:gd name="connsiteX2" fmla="*/ 10701861 w 10972800"/>
              <a:gd name="connsiteY2" fmla="*/ 0 h 1625600"/>
              <a:gd name="connsiteX3" fmla="*/ 10972800 w 10972800"/>
              <a:gd name="connsiteY3" fmla="*/ 270939 h 1625600"/>
              <a:gd name="connsiteX4" fmla="*/ 10972800 w 10972800"/>
              <a:gd name="connsiteY4" fmla="*/ 1354661 h 1625600"/>
              <a:gd name="connsiteX5" fmla="*/ 10701861 w 10972800"/>
              <a:gd name="connsiteY5" fmla="*/ 1625600 h 1625600"/>
              <a:gd name="connsiteX6" fmla="*/ 270939 w 10972800"/>
              <a:gd name="connsiteY6" fmla="*/ 1625600 h 1625600"/>
              <a:gd name="connsiteX7" fmla="*/ 0 w 10972800"/>
              <a:gd name="connsiteY7" fmla="*/ 1354661 h 1625600"/>
              <a:gd name="connsiteX8" fmla="*/ 0 w 10972800"/>
              <a:gd name="connsiteY8" fmla="*/ 270939 h 1625600"/>
              <a:gd name="connsiteX0" fmla="*/ 0 w 10972800"/>
              <a:gd name="connsiteY0" fmla="*/ 270939 h 1625600"/>
              <a:gd name="connsiteX1" fmla="*/ 270939 w 10972800"/>
              <a:gd name="connsiteY1" fmla="*/ 0 h 1625600"/>
              <a:gd name="connsiteX2" fmla="*/ 10701861 w 10972800"/>
              <a:gd name="connsiteY2" fmla="*/ 0 h 1625600"/>
              <a:gd name="connsiteX3" fmla="*/ 10972800 w 10972800"/>
              <a:gd name="connsiteY3" fmla="*/ 270939 h 1625600"/>
              <a:gd name="connsiteX4" fmla="*/ 10972800 w 10972800"/>
              <a:gd name="connsiteY4" fmla="*/ 1083727 h 1625600"/>
              <a:gd name="connsiteX5" fmla="*/ 10701861 w 10972800"/>
              <a:gd name="connsiteY5" fmla="*/ 1625600 h 1625600"/>
              <a:gd name="connsiteX6" fmla="*/ 270939 w 10972800"/>
              <a:gd name="connsiteY6" fmla="*/ 1625600 h 1625600"/>
              <a:gd name="connsiteX7" fmla="*/ 0 w 10972800"/>
              <a:gd name="connsiteY7" fmla="*/ 1354661 h 1625600"/>
              <a:gd name="connsiteX8" fmla="*/ 0 w 10972800"/>
              <a:gd name="connsiteY8" fmla="*/ 270939 h 1625600"/>
              <a:gd name="connsiteX0" fmla="*/ 0 w 10972800"/>
              <a:gd name="connsiteY0" fmla="*/ 270939 h 1625600"/>
              <a:gd name="connsiteX1" fmla="*/ 270939 w 10972800"/>
              <a:gd name="connsiteY1" fmla="*/ 0 h 1625600"/>
              <a:gd name="connsiteX2" fmla="*/ 10701861 w 10972800"/>
              <a:gd name="connsiteY2" fmla="*/ 0 h 1625600"/>
              <a:gd name="connsiteX3" fmla="*/ 10972800 w 10972800"/>
              <a:gd name="connsiteY3" fmla="*/ 270939 h 1625600"/>
              <a:gd name="connsiteX4" fmla="*/ 10972800 w 10972800"/>
              <a:gd name="connsiteY4" fmla="*/ 1083727 h 1625600"/>
              <a:gd name="connsiteX5" fmla="*/ 10075327 w 10972800"/>
              <a:gd name="connsiteY5" fmla="*/ 1625600 h 1625600"/>
              <a:gd name="connsiteX6" fmla="*/ 270939 w 10972800"/>
              <a:gd name="connsiteY6" fmla="*/ 1625600 h 1625600"/>
              <a:gd name="connsiteX7" fmla="*/ 0 w 10972800"/>
              <a:gd name="connsiteY7" fmla="*/ 1354661 h 1625600"/>
              <a:gd name="connsiteX8" fmla="*/ 0 w 10972800"/>
              <a:gd name="connsiteY8" fmla="*/ 270939 h 1625600"/>
              <a:gd name="connsiteX0" fmla="*/ 0 w 10972800"/>
              <a:gd name="connsiteY0" fmla="*/ 270939 h 1637374"/>
              <a:gd name="connsiteX1" fmla="*/ 270939 w 10972800"/>
              <a:gd name="connsiteY1" fmla="*/ 0 h 1637374"/>
              <a:gd name="connsiteX2" fmla="*/ 10701861 w 10972800"/>
              <a:gd name="connsiteY2" fmla="*/ 0 h 1637374"/>
              <a:gd name="connsiteX3" fmla="*/ 10972800 w 10972800"/>
              <a:gd name="connsiteY3" fmla="*/ 270939 h 1637374"/>
              <a:gd name="connsiteX4" fmla="*/ 10972800 w 10972800"/>
              <a:gd name="connsiteY4" fmla="*/ 1083727 h 1637374"/>
              <a:gd name="connsiteX5" fmla="*/ 10075327 w 10972800"/>
              <a:gd name="connsiteY5" fmla="*/ 1625600 h 1637374"/>
              <a:gd name="connsiteX6" fmla="*/ 270939 w 10972800"/>
              <a:gd name="connsiteY6" fmla="*/ 1625600 h 1637374"/>
              <a:gd name="connsiteX7" fmla="*/ 0 w 10972800"/>
              <a:gd name="connsiteY7" fmla="*/ 1354661 h 1637374"/>
              <a:gd name="connsiteX8" fmla="*/ 0 w 10972800"/>
              <a:gd name="connsiteY8" fmla="*/ 270939 h 1637374"/>
              <a:gd name="connsiteX0" fmla="*/ 0 w 10972800"/>
              <a:gd name="connsiteY0" fmla="*/ 270939 h 1625732"/>
              <a:gd name="connsiteX1" fmla="*/ 270939 w 10972800"/>
              <a:gd name="connsiteY1" fmla="*/ 0 h 1625732"/>
              <a:gd name="connsiteX2" fmla="*/ 10701861 w 10972800"/>
              <a:gd name="connsiteY2" fmla="*/ 0 h 1625732"/>
              <a:gd name="connsiteX3" fmla="*/ 10972800 w 10972800"/>
              <a:gd name="connsiteY3" fmla="*/ 270939 h 1625732"/>
              <a:gd name="connsiteX4" fmla="*/ 10972800 w 10972800"/>
              <a:gd name="connsiteY4" fmla="*/ 1083727 h 1625732"/>
              <a:gd name="connsiteX5" fmla="*/ 10075327 w 10972800"/>
              <a:gd name="connsiteY5" fmla="*/ 1625600 h 1625732"/>
              <a:gd name="connsiteX6" fmla="*/ 270939 w 10972800"/>
              <a:gd name="connsiteY6" fmla="*/ 1625600 h 1625732"/>
              <a:gd name="connsiteX7" fmla="*/ 0 w 10972800"/>
              <a:gd name="connsiteY7" fmla="*/ 1354661 h 1625732"/>
              <a:gd name="connsiteX8" fmla="*/ 0 w 10972800"/>
              <a:gd name="connsiteY8" fmla="*/ 270939 h 1625732"/>
              <a:gd name="connsiteX0" fmla="*/ 0 w 10972964"/>
              <a:gd name="connsiteY0" fmla="*/ 270939 h 1625600"/>
              <a:gd name="connsiteX1" fmla="*/ 270939 w 10972964"/>
              <a:gd name="connsiteY1" fmla="*/ 0 h 1625600"/>
              <a:gd name="connsiteX2" fmla="*/ 10701861 w 10972964"/>
              <a:gd name="connsiteY2" fmla="*/ 0 h 1625600"/>
              <a:gd name="connsiteX3" fmla="*/ 10972800 w 10972964"/>
              <a:gd name="connsiteY3" fmla="*/ 270939 h 1625600"/>
              <a:gd name="connsiteX4" fmla="*/ 10972800 w 10972964"/>
              <a:gd name="connsiteY4" fmla="*/ 1083727 h 1625600"/>
              <a:gd name="connsiteX5" fmla="*/ 10210793 w 10972964"/>
              <a:gd name="connsiteY5" fmla="*/ 1608667 h 1625600"/>
              <a:gd name="connsiteX6" fmla="*/ 270939 w 10972964"/>
              <a:gd name="connsiteY6" fmla="*/ 1625600 h 1625600"/>
              <a:gd name="connsiteX7" fmla="*/ 0 w 10972964"/>
              <a:gd name="connsiteY7" fmla="*/ 1354661 h 1625600"/>
              <a:gd name="connsiteX8" fmla="*/ 0 w 10972964"/>
              <a:gd name="connsiteY8" fmla="*/ 270939 h 1625600"/>
              <a:gd name="connsiteX0" fmla="*/ 0 w 10972800"/>
              <a:gd name="connsiteY0" fmla="*/ 270939 h 1625600"/>
              <a:gd name="connsiteX1" fmla="*/ 270939 w 10972800"/>
              <a:gd name="connsiteY1" fmla="*/ 0 h 1625600"/>
              <a:gd name="connsiteX2" fmla="*/ 10701861 w 10972800"/>
              <a:gd name="connsiteY2" fmla="*/ 0 h 1625600"/>
              <a:gd name="connsiteX3" fmla="*/ 10972800 w 10972800"/>
              <a:gd name="connsiteY3" fmla="*/ 270939 h 1625600"/>
              <a:gd name="connsiteX4" fmla="*/ 10972800 w 10972800"/>
              <a:gd name="connsiteY4" fmla="*/ 1083727 h 1625600"/>
              <a:gd name="connsiteX5" fmla="*/ 10210793 w 10972800"/>
              <a:gd name="connsiteY5" fmla="*/ 1608667 h 1625600"/>
              <a:gd name="connsiteX6" fmla="*/ 270939 w 10972800"/>
              <a:gd name="connsiteY6" fmla="*/ 1625600 h 1625600"/>
              <a:gd name="connsiteX7" fmla="*/ 0 w 10972800"/>
              <a:gd name="connsiteY7" fmla="*/ 1354661 h 1625600"/>
              <a:gd name="connsiteX8" fmla="*/ 0 w 10972800"/>
              <a:gd name="connsiteY8" fmla="*/ 270939 h 1625600"/>
              <a:gd name="connsiteX0" fmla="*/ 0 w 10972800"/>
              <a:gd name="connsiteY0" fmla="*/ 270939 h 1625600"/>
              <a:gd name="connsiteX1" fmla="*/ 270939 w 10972800"/>
              <a:gd name="connsiteY1" fmla="*/ 0 h 1625600"/>
              <a:gd name="connsiteX2" fmla="*/ 10701861 w 10972800"/>
              <a:gd name="connsiteY2" fmla="*/ 0 h 1625600"/>
              <a:gd name="connsiteX3" fmla="*/ 10972800 w 10972800"/>
              <a:gd name="connsiteY3" fmla="*/ 270939 h 1625600"/>
              <a:gd name="connsiteX4" fmla="*/ 10964333 w 10972800"/>
              <a:gd name="connsiteY4" fmla="*/ 948260 h 1625600"/>
              <a:gd name="connsiteX5" fmla="*/ 10210793 w 10972800"/>
              <a:gd name="connsiteY5" fmla="*/ 1608667 h 1625600"/>
              <a:gd name="connsiteX6" fmla="*/ 270939 w 10972800"/>
              <a:gd name="connsiteY6" fmla="*/ 1625600 h 1625600"/>
              <a:gd name="connsiteX7" fmla="*/ 0 w 10972800"/>
              <a:gd name="connsiteY7" fmla="*/ 1354661 h 1625600"/>
              <a:gd name="connsiteX8" fmla="*/ 0 w 10972800"/>
              <a:gd name="connsiteY8" fmla="*/ 270939 h 1625600"/>
              <a:gd name="connsiteX0" fmla="*/ 0 w 10991280"/>
              <a:gd name="connsiteY0" fmla="*/ 270939 h 1625600"/>
              <a:gd name="connsiteX1" fmla="*/ 270939 w 10991280"/>
              <a:gd name="connsiteY1" fmla="*/ 0 h 1625600"/>
              <a:gd name="connsiteX2" fmla="*/ 10701861 w 10991280"/>
              <a:gd name="connsiteY2" fmla="*/ 0 h 1625600"/>
              <a:gd name="connsiteX3" fmla="*/ 10991280 w 10991280"/>
              <a:gd name="connsiteY3" fmla="*/ 585264 h 1625600"/>
              <a:gd name="connsiteX4" fmla="*/ 10964333 w 10991280"/>
              <a:gd name="connsiteY4" fmla="*/ 948260 h 1625600"/>
              <a:gd name="connsiteX5" fmla="*/ 10210793 w 10991280"/>
              <a:gd name="connsiteY5" fmla="*/ 1608667 h 1625600"/>
              <a:gd name="connsiteX6" fmla="*/ 270939 w 10991280"/>
              <a:gd name="connsiteY6" fmla="*/ 1625600 h 1625600"/>
              <a:gd name="connsiteX7" fmla="*/ 0 w 10991280"/>
              <a:gd name="connsiteY7" fmla="*/ 1354661 h 1625600"/>
              <a:gd name="connsiteX8" fmla="*/ 0 w 10991280"/>
              <a:gd name="connsiteY8" fmla="*/ 270939 h 1625600"/>
              <a:gd name="connsiteX0" fmla="*/ 0 w 10991280"/>
              <a:gd name="connsiteY0" fmla="*/ 270939 h 1625600"/>
              <a:gd name="connsiteX1" fmla="*/ 270939 w 10991280"/>
              <a:gd name="connsiteY1" fmla="*/ 0 h 1625600"/>
              <a:gd name="connsiteX2" fmla="*/ 10991280 w 10991280"/>
              <a:gd name="connsiteY2" fmla="*/ 585264 h 1625600"/>
              <a:gd name="connsiteX3" fmla="*/ 10964333 w 10991280"/>
              <a:gd name="connsiteY3" fmla="*/ 948260 h 1625600"/>
              <a:gd name="connsiteX4" fmla="*/ 10210793 w 10991280"/>
              <a:gd name="connsiteY4" fmla="*/ 1608667 h 1625600"/>
              <a:gd name="connsiteX5" fmla="*/ 270939 w 10991280"/>
              <a:gd name="connsiteY5" fmla="*/ 1625600 h 1625600"/>
              <a:gd name="connsiteX6" fmla="*/ 0 w 10991280"/>
              <a:gd name="connsiteY6" fmla="*/ 1354661 h 1625600"/>
              <a:gd name="connsiteX7" fmla="*/ 0 w 10991280"/>
              <a:gd name="connsiteY7" fmla="*/ 270939 h 1625600"/>
              <a:gd name="connsiteX0" fmla="*/ 619068 w 10991280"/>
              <a:gd name="connsiteY0" fmla="*/ 642414 h 1625600"/>
              <a:gd name="connsiteX1" fmla="*/ 270939 w 10991280"/>
              <a:gd name="connsiteY1" fmla="*/ 0 h 1625600"/>
              <a:gd name="connsiteX2" fmla="*/ 10991280 w 10991280"/>
              <a:gd name="connsiteY2" fmla="*/ 585264 h 1625600"/>
              <a:gd name="connsiteX3" fmla="*/ 10964333 w 10991280"/>
              <a:gd name="connsiteY3" fmla="*/ 948260 h 1625600"/>
              <a:gd name="connsiteX4" fmla="*/ 10210793 w 10991280"/>
              <a:gd name="connsiteY4" fmla="*/ 1608667 h 1625600"/>
              <a:gd name="connsiteX5" fmla="*/ 270939 w 10991280"/>
              <a:gd name="connsiteY5" fmla="*/ 1625600 h 1625600"/>
              <a:gd name="connsiteX6" fmla="*/ 0 w 10991280"/>
              <a:gd name="connsiteY6" fmla="*/ 1354661 h 1625600"/>
              <a:gd name="connsiteX7" fmla="*/ 619068 w 10991280"/>
              <a:gd name="connsiteY7" fmla="*/ 642414 h 1625600"/>
              <a:gd name="connsiteX0" fmla="*/ 637548 w 10991280"/>
              <a:gd name="connsiteY0" fmla="*/ 585264 h 1625600"/>
              <a:gd name="connsiteX1" fmla="*/ 270939 w 10991280"/>
              <a:gd name="connsiteY1" fmla="*/ 0 h 1625600"/>
              <a:gd name="connsiteX2" fmla="*/ 10991280 w 10991280"/>
              <a:gd name="connsiteY2" fmla="*/ 585264 h 1625600"/>
              <a:gd name="connsiteX3" fmla="*/ 10964333 w 10991280"/>
              <a:gd name="connsiteY3" fmla="*/ 948260 h 1625600"/>
              <a:gd name="connsiteX4" fmla="*/ 10210793 w 10991280"/>
              <a:gd name="connsiteY4" fmla="*/ 1608667 h 1625600"/>
              <a:gd name="connsiteX5" fmla="*/ 270939 w 10991280"/>
              <a:gd name="connsiteY5" fmla="*/ 1625600 h 1625600"/>
              <a:gd name="connsiteX6" fmla="*/ 0 w 10991280"/>
              <a:gd name="connsiteY6" fmla="*/ 1354661 h 1625600"/>
              <a:gd name="connsiteX7" fmla="*/ 637548 w 10991280"/>
              <a:gd name="connsiteY7" fmla="*/ 585264 h 1625600"/>
              <a:gd name="connsiteX0" fmla="*/ 600588 w 10991280"/>
              <a:gd name="connsiteY0" fmla="*/ 613839 h 1625600"/>
              <a:gd name="connsiteX1" fmla="*/ 270939 w 10991280"/>
              <a:gd name="connsiteY1" fmla="*/ 0 h 1625600"/>
              <a:gd name="connsiteX2" fmla="*/ 10991280 w 10991280"/>
              <a:gd name="connsiteY2" fmla="*/ 585264 h 1625600"/>
              <a:gd name="connsiteX3" fmla="*/ 10964333 w 10991280"/>
              <a:gd name="connsiteY3" fmla="*/ 948260 h 1625600"/>
              <a:gd name="connsiteX4" fmla="*/ 10210793 w 10991280"/>
              <a:gd name="connsiteY4" fmla="*/ 1608667 h 1625600"/>
              <a:gd name="connsiteX5" fmla="*/ 270939 w 10991280"/>
              <a:gd name="connsiteY5" fmla="*/ 1625600 h 1625600"/>
              <a:gd name="connsiteX6" fmla="*/ 0 w 10991280"/>
              <a:gd name="connsiteY6" fmla="*/ 1354661 h 1625600"/>
              <a:gd name="connsiteX7" fmla="*/ 600588 w 10991280"/>
              <a:gd name="connsiteY7" fmla="*/ 613839 h 1625600"/>
              <a:gd name="connsiteX0" fmla="*/ 600588 w 10991280"/>
              <a:gd name="connsiteY0" fmla="*/ 83395 h 1095156"/>
              <a:gd name="connsiteX1" fmla="*/ 10991280 w 10991280"/>
              <a:gd name="connsiteY1" fmla="*/ 54820 h 1095156"/>
              <a:gd name="connsiteX2" fmla="*/ 10964333 w 10991280"/>
              <a:gd name="connsiteY2" fmla="*/ 417816 h 1095156"/>
              <a:gd name="connsiteX3" fmla="*/ 10210793 w 10991280"/>
              <a:gd name="connsiteY3" fmla="*/ 1078223 h 1095156"/>
              <a:gd name="connsiteX4" fmla="*/ 270939 w 10991280"/>
              <a:gd name="connsiteY4" fmla="*/ 1095156 h 1095156"/>
              <a:gd name="connsiteX5" fmla="*/ 0 w 10991280"/>
              <a:gd name="connsiteY5" fmla="*/ 824217 h 1095156"/>
              <a:gd name="connsiteX6" fmla="*/ 600588 w 10991280"/>
              <a:gd name="connsiteY6" fmla="*/ 83395 h 1095156"/>
              <a:gd name="connsiteX0" fmla="*/ 1441702 w 11832394"/>
              <a:gd name="connsiteY0" fmla="*/ 83395 h 1095156"/>
              <a:gd name="connsiteX1" fmla="*/ 11832394 w 11832394"/>
              <a:gd name="connsiteY1" fmla="*/ 54820 h 1095156"/>
              <a:gd name="connsiteX2" fmla="*/ 11805447 w 11832394"/>
              <a:gd name="connsiteY2" fmla="*/ 417816 h 1095156"/>
              <a:gd name="connsiteX3" fmla="*/ 11051907 w 11832394"/>
              <a:gd name="connsiteY3" fmla="*/ 1078223 h 1095156"/>
              <a:gd name="connsiteX4" fmla="*/ 1112053 w 11832394"/>
              <a:gd name="connsiteY4" fmla="*/ 1095156 h 1095156"/>
              <a:gd name="connsiteX5" fmla="*/ 1441702 w 11832394"/>
              <a:gd name="connsiteY5" fmla="*/ 83395 h 1095156"/>
              <a:gd name="connsiteX0" fmla="*/ 1256984 w 11647676"/>
              <a:gd name="connsiteY0" fmla="*/ 83395 h 1104681"/>
              <a:gd name="connsiteX1" fmla="*/ 11647676 w 11647676"/>
              <a:gd name="connsiteY1" fmla="*/ 54820 h 1104681"/>
              <a:gd name="connsiteX2" fmla="*/ 11620729 w 11647676"/>
              <a:gd name="connsiteY2" fmla="*/ 417816 h 1104681"/>
              <a:gd name="connsiteX3" fmla="*/ 10867189 w 11647676"/>
              <a:gd name="connsiteY3" fmla="*/ 1078223 h 1104681"/>
              <a:gd name="connsiteX4" fmla="*/ 1287688 w 11647676"/>
              <a:gd name="connsiteY4" fmla="*/ 1104681 h 1104681"/>
              <a:gd name="connsiteX5" fmla="*/ 1256984 w 11647676"/>
              <a:gd name="connsiteY5" fmla="*/ 83395 h 1104681"/>
              <a:gd name="connsiteX0" fmla="*/ 1261361 w 11652053"/>
              <a:gd name="connsiteY0" fmla="*/ 83395 h 1078349"/>
              <a:gd name="connsiteX1" fmla="*/ 11652053 w 11652053"/>
              <a:gd name="connsiteY1" fmla="*/ 54820 h 1078349"/>
              <a:gd name="connsiteX2" fmla="*/ 11625106 w 11652053"/>
              <a:gd name="connsiteY2" fmla="*/ 417816 h 1078349"/>
              <a:gd name="connsiteX3" fmla="*/ 10871566 w 11652053"/>
              <a:gd name="connsiteY3" fmla="*/ 1078223 h 1078349"/>
              <a:gd name="connsiteX4" fmla="*/ 1282826 w 11652053"/>
              <a:gd name="connsiteY4" fmla="*/ 1076106 h 1078349"/>
              <a:gd name="connsiteX5" fmla="*/ 1261361 w 11652053"/>
              <a:gd name="connsiteY5" fmla="*/ 83395 h 1078349"/>
              <a:gd name="connsiteX0" fmla="*/ 791314 w 11182006"/>
              <a:gd name="connsiteY0" fmla="*/ 83395 h 1078349"/>
              <a:gd name="connsiteX1" fmla="*/ 11182006 w 11182006"/>
              <a:gd name="connsiteY1" fmla="*/ 54820 h 1078349"/>
              <a:gd name="connsiteX2" fmla="*/ 11155059 w 11182006"/>
              <a:gd name="connsiteY2" fmla="*/ 417816 h 1078349"/>
              <a:gd name="connsiteX3" fmla="*/ 10401519 w 11182006"/>
              <a:gd name="connsiteY3" fmla="*/ 1078223 h 1078349"/>
              <a:gd name="connsiteX4" fmla="*/ 812779 w 11182006"/>
              <a:gd name="connsiteY4" fmla="*/ 1076106 h 1078349"/>
              <a:gd name="connsiteX5" fmla="*/ 791314 w 11182006"/>
              <a:gd name="connsiteY5" fmla="*/ 83395 h 1078349"/>
              <a:gd name="connsiteX0" fmla="*/ 0 w 10390692"/>
              <a:gd name="connsiteY0" fmla="*/ 83395 h 1078349"/>
              <a:gd name="connsiteX1" fmla="*/ 10390692 w 10390692"/>
              <a:gd name="connsiteY1" fmla="*/ 54820 h 1078349"/>
              <a:gd name="connsiteX2" fmla="*/ 10363745 w 10390692"/>
              <a:gd name="connsiteY2" fmla="*/ 417816 h 1078349"/>
              <a:gd name="connsiteX3" fmla="*/ 9610205 w 10390692"/>
              <a:gd name="connsiteY3" fmla="*/ 1078223 h 1078349"/>
              <a:gd name="connsiteX4" fmla="*/ 21465 w 10390692"/>
              <a:gd name="connsiteY4" fmla="*/ 1076106 h 1078349"/>
              <a:gd name="connsiteX5" fmla="*/ 0 w 10390692"/>
              <a:gd name="connsiteY5" fmla="*/ 83395 h 1078349"/>
              <a:gd name="connsiteX0" fmla="*/ 22 w 10390714"/>
              <a:gd name="connsiteY0" fmla="*/ 48256 h 1043210"/>
              <a:gd name="connsiteX1" fmla="*/ 10390714 w 10390714"/>
              <a:gd name="connsiteY1" fmla="*/ 19681 h 1043210"/>
              <a:gd name="connsiteX2" fmla="*/ 10363767 w 10390714"/>
              <a:gd name="connsiteY2" fmla="*/ 382677 h 1043210"/>
              <a:gd name="connsiteX3" fmla="*/ 9610227 w 10390714"/>
              <a:gd name="connsiteY3" fmla="*/ 1043084 h 1043210"/>
              <a:gd name="connsiteX4" fmla="*/ 21487 w 10390714"/>
              <a:gd name="connsiteY4" fmla="*/ 1040967 h 1043210"/>
              <a:gd name="connsiteX5" fmla="*/ 22 w 10390714"/>
              <a:gd name="connsiteY5" fmla="*/ 48256 h 1043210"/>
              <a:gd name="connsiteX0" fmla="*/ 0 w 10363744"/>
              <a:gd name="connsiteY0" fmla="*/ 24919 h 1019873"/>
              <a:gd name="connsiteX1" fmla="*/ 10363745 w 10363744"/>
              <a:gd name="connsiteY1" fmla="*/ 359340 h 1019873"/>
              <a:gd name="connsiteX2" fmla="*/ 9610205 w 10363744"/>
              <a:gd name="connsiteY2" fmla="*/ 1019747 h 1019873"/>
              <a:gd name="connsiteX3" fmla="*/ 21465 w 10363744"/>
              <a:gd name="connsiteY3" fmla="*/ 1017630 h 1019873"/>
              <a:gd name="connsiteX4" fmla="*/ 0 w 10363744"/>
              <a:gd name="connsiteY4" fmla="*/ 24919 h 1019873"/>
              <a:gd name="connsiteX0" fmla="*/ 0 w 10409944"/>
              <a:gd name="connsiteY0" fmla="*/ 115098 h 1109995"/>
              <a:gd name="connsiteX1" fmla="*/ 10409944 w 10409944"/>
              <a:gd name="connsiteY1" fmla="*/ 97094 h 1109995"/>
              <a:gd name="connsiteX2" fmla="*/ 9610205 w 10409944"/>
              <a:gd name="connsiteY2" fmla="*/ 1109926 h 1109995"/>
              <a:gd name="connsiteX3" fmla="*/ 21465 w 10409944"/>
              <a:gd name="connsiteY3" fmla="*/ 1107809 h 1109995"/>
              <a:gd name="connsiteX4" fmla="*/ 0 w 10409944"/>
              <a:gd name="connsiteY4" fmla="*/ 115098 h 1109995"/>
              <a:gd name="connsiteX0" fmla="*/ 0 w 10409995"/>
              <a:gd name="connsiteY0" fmla="*/ 50123 h 1045020"/>
              <a:gd name="connsiteX1" fmla="*/ 10409944 w 10409995"/>
              <a:gd name="connsiteY1" fmla="*/ 32119 h 1045020"/>
              <a:gd name="connsiteX2" fmla="*/ 9610205 w 10409995"/>
              <a:gd name="connsiteY2" fmla="*/ 1044951 h 1045020"/>
              <a:gd name="connsiteX3" fmla="*/ 21465 w 10409995"/>
              <a:gd name="connsiteY3" fmla="*/ 1042834 h 1045020"/>
              <a:gd name="connsiteX4" fmla="*/ 0 w 10409995"/>
              <a:gd name="connsiteY4" fmla="*/ 50123 h 1045020"/>
              <a:gd name="connsiteX0" fmla="*/ 0 w 10382275"/>
              <a:gd name="connsiteY0" fmla="*/ 50123 h 1045020"/>
              <a:gd name="connsiteX1" fmla="*/ 10382224 w 10382275"/>
              <a:gd name="connsiteY1" fmla="*/ 32119 h 1045020"/>
              <a:gd name="connsiteX2" fmla="*/ 9610205 w 10382275"/>
              <a:gd name="connsiteY2" fmla="*/ 1044951 h 1045020"/>
              <a:gd name="connsiteX3" fmla="*/ 21465 w 10382275"/>
              <a:gd name="connsiteY3" fmla="*/ 1042834 h 1045020"/>
              <a:gd name="connsiteX4" fmla="*/ 0 w 10382275"/>
              <a:gd name="connsiteY4" fmla="*/ 50123 h 1045020"/>
              <a:gd name="connsiteX0" fmla="*/ 0 w 10382528"/>
              <a:gd name="connsiteY0" fmla="*/ 50123 h 1045034"/>
              <a:gd name="connsiteX1" fmla="*/ 10382224 w 10382528"/>
              <a:gd name="connsiteY1" fmla="*/ 32119 h 1045034"/>
              <a:gd name="connsiteX2" fmla="*/ 9610205 w 10382528"/>
              <a:gd name="connsiteY2" fmla="*/ 1044951 h 1045034"/>
              <a:gd name="connsiteX3" fmla="*/ 21465 w 10382528"/>
              <a:gd name="connsiteY3" fmla="*/ 1042834 h 1045034"/>
              <a:gd name="connsiteX4" fmla="*/ 0 w 10382528"/>
              <a:gd name="connsiteY4" fmla="*/ 50123 h 1045034"/>
              <a:gd name="connsiteX0" fmla="*/ 36 w 10382564"/>
              <a:gd name="connsiteY0" fmla="*/ 18004 h 1012915"/>
              <a:gd name="connsiteX1" fmla="*/ 10382260 w 10382564"/>
              <a:gd name="connsiteY1" fmla="*/ 0 h 1012915"/>
              <a:gd name="connsiteX2" fmla="*/ 9610241 w 10382564"/>
              <a:gd name="connsiteY2" fmla="*/ 1012832 h 1012915"/>
              <a:gd name="connsiteX3" fmla="*/ 21501 w 10382564"/>
              <a:gd name="connsiteY3" fmla="*/ 1010715 h 1012915"/>
              <a:gd name="connsiteX4" fmla="*/ 36 w 10382564"/>
              <a:gd name="connsiteY4" fmla="*/ 18004 h 1012915"/>
              <a:gd name="connsiteX0" fmla="*/ 36 w 10382564"/>
              <a:gd name="connsiteY0" fmla="*/ 0 h 1042536"/>
              <a:gd name="connsiteX1" fmla="*/ 10382260 w 10382564"/>
              <a:gd name="connsiteY1" fmla="*/ 29621 h 1042536"/>
              <a:gd name="connsiteX2" fmla="*/ 9610241 w 10382564"/>
              <a:gd name="connsiteY2" fmla="*/ 1042453 h 1042536"/>
              <a:gd name="connsiteX3" fmla="*/ 21501 w 10382564"/>
              <a:gd name="connsiteY3" fmla="*/ 1040336 h 1042536"/>
              <a:gd name="connsiteX4" fmla="*/ 36 w 10382564"/>
              <a:gd name="connsiteY4" fmla="*/ 0 h 1042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2564" h="1042536">
                <a:moveTo>
                  <a:pt x="36" y="0"/>
                </a:moveTo>
                <a:cubicBezTo>
                  <a:pt x="-22577" y="14110"/>
                  <a:pt x="10406768" y="44791"/>
                  <a:pt x="10382260" y="29621"/>
                </a:cubicBezTo>
                <a:cubicBezTo>
                  <a:pt x="10383806" y="414206"/>
                  <a:pt x="10403343" y="1050920"/>
                  <a:pt x="9610241" y="1042453"/>
                </a:cubicBezTo>
                <a:lnTo>
                  <a:pt x="21501" y="1040336"/>
                </a:lnTo>
                <a:cubicBezTo>
                  <a:pt x="9049" y="1045981"/>
                  <a:pt x="15077" y="1939"/>
                  <a:pt x="36" y="0"/>
                </a:cubicBezTo>
                <a:close/>
              </a:path>
            </a:pathLst>
          </a:custGeom>
          <a:solidFill>
            <a:srgbClr val="65B2E8">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8" name="Afbeelding 7">
            <a:extLst>
              <a:ext uri="{FF2B5EF4-FFF2-40B4-BE49-F238E27FC236}">
                <a16:creationId xmlns:a16="http://schemas.microsoft.com/office/drawing/2014/main" id="{D1CACB0D-4704-E438-1290-5550FED0E308}"/>
              </a:ext>
            </a:extLst>
          </p:cNvPr>
          <p:cNvPicPr>
            <a:picLocks noChangeAspect="1"/>
          </p:cNvPicPr>
          <p:nvPr userDrawn="1"/>
        </p:nvPicPr>
        <p:blipFill>
          <a:blip r:embed="rId12"/>
          <a:srcRect/>
          <a:stretch/>
        </p:blipFill>
        <p:spPr>
          <a:xfrm>
            <a:off x="401903" y="141707"/>
            <a:ext cx="703333" cy="715543"/>
          </a:xfrm>
          <a:prstGeom prst="rect">
            <a:avLst/>
          </a:prstGeom>
        </p:spPr>
      </p:pic>
      <p:sp>
        <p:nvSpPr>
          <p:cNvPr id="23" name="Rechthoek: afgeronde hoeken 22">
            <a:extLst>
              <a:ext uri="{FF2B5EF4-FFF2-40B4-BE49-F238E27FC236}">
                <a16:creationId xmlns:a16="http://schemas.microsoft.com/office/drawing/2014/main" id="{84D08D21-06A9-141E-DEB6-DD9EEC95EDBE}"/>
              </a:ext>
            </a:extLst>
          </p:cNvPr>
          <p:cNvSpPr/>
          <p:nvPr userDrawn="1"/>
        </p:nvSpPr>
        <p:spPr>
          <a:xfrm>
            <a:off x="10720681" y="6082667"/>
            <a:ext cx="1475458" cy="780302"/>
          </a:xfrm>
          <a:custGeom>
            <a:avLst/>
            <a:gdLst>
              <a:gd name="connsiteX0" fmla="*/ 0 w 1524000"/>
              <a:gd name="connsiteY0" fmla="*/ 128414 h 770467"/>
              <a:gd name="connsiteX1" fmla="*/ 128414 w 1524000"/>
              <a:gd name="connsiteY1" fmla="*/ 0 h 770467"/>
              <a:gd name="connsiteX2" fmla="*/ 1395586 w 1524000"/>
              <a:gd name="connsiteY2" fmla="*/ 0 h 770467"/>
              <a:gd name="connsiteX3" fmla="*/ 1524000 w 1524000"/>
              <a:gd name="connsiteY3" fmla="*/ 128414 h 770467"/>
              <a:gd name="connsiteX4" fmla="*/ 1524000 w 1524000"/>
              <a:gd name="connsiteY4" fmla="*/ 642053 h 770467"/>
              <a:gd name="connsiteX5" fmla="*/ 1395586 w 1524000"/>
              <a:gd name="connsiteY5" fmla="*/ 770467 h 770467"/>
              <a:gd name="connsiteX6" fmla="*/ 128414 w 1524000"/>
              <a:gd name="connsiteY6" fmla="*/ 770467 h 770467"/>
              <a:gd name="connsiteX7" fmla="*/ 0 w 1524000"/>
              <a:gd name="connsiteY7" fmla="*/ 642053 h 770467"/>
              <a:gd name="connsiteX8" fmla="*/ 0 w 1524000"/>
              <a:gd name="connsiteY8" fmla="*/ 128414 h 770467"/>
              <a:gd name="connsiteX0" fmla="*/ 0 w 1524000"/>
              <a:gd name="connsiteY0" fmla="*/ 259043 h 770467"/>
              <a:gd name="connsiteX1" fmla="*/ 128414 w 1524000"/>
              <a:gd name="connsiteY1" fmla="*/ 0 h 770467"/>
              <a:gd name="connsiteX2" fmla="*/ 1395586 w 1524000"/>
              <a:gd name="connsiteY2" fmla="*/ 0 h 770467"/>
              <a:gd name="connsiteX3" fmla="*/ 1524000 w 1524000"/>
              <a:gd name="connsiteY3" fmla="*/ 128414 h 770467"/>
              <a:gd name="connsiteX4" fmla="*/ 1524000 w 1524000"/>
              <a:gd name="connsiteY4" fmla="*/ 642053 h 770467"/>
              <a:gd name="connsiteX5" fmla="*/ 1395586 w 1524000"/>
              <a:gd name="connsiteY5" fmla="*/ 770467 h 770467"/>
              <a:gd name="connsiteX6" fmla="*/ 128414 w 1524000"/>
              <a:gd name="connsiteY6" fmla="*/ 770467 h 770467"/>
              <a:gd name="connsiteX7" fmla="*/ 0 w 1524000"/>
              <a:gd name="connsiteY7" fmla="*/ 642053 h 770467"/>
              <a:gd name="connsiteX8" fmla="*/ 0 w 1524000"/>
              <a:gd name="connsiteY8" fmla="*/ 259043 h 770467"/>
              <a:gd name="connsiteX0" fmla="*/ 0 w 1524000"/>
              <a:gd name="connsiteY0" fmla="*/ 261656 h 773080"/>
              <a:gd name="connsiteX1" fmla="*/ 358320 w 1524000"/>
              <a:gd name="connsiteY1" fmla="*/ 0 h 773080"/>
              <a:gd name="connsiteX2" fmla="*/ 1395586 w 1524000"/>
              <a:gd name="connsiteY2" fmla="*/ 2613 h 773080"/>
              <a:gd name="connsiteX3" fmla="*/ 1524000 w 1524000"/>
              <a:gd name="connsiteY3" fmla="*/ 131027 h 773080"/>
              <a:gd name="connsiteX4" fmla="*/ 1524000 w 1524000"/>
              <a:gd name="connsiteY4" fmla="*/ 644666 h 773080"/>
              <a:gd name="connsiteX5" fmla="*/ 1395586 w 1524000"/>
              <a:gd name="connsiteY5" fmla="*/ 773080 h 773080"/>
              <a:gd name="connsiteX6" fmla="*/ 128414 w 1524000"/>
              <a:gd name="connsiteY6" fmla="*/ 773080 h 773080"/>
              <a:gd name="connsiteX7" fmla="*/ 0 w 1524000"/>
              <a:gd name="connsiteY7" fmla="*/ 644666 h 773080"/>
              <a:gd name="connsiteX8" fmla="*/ 0 w 1524000"/>
              <a:gd name="connsiteY8" fmla="*/ 261656 h 773080"/>
              <a:gd name="connsiteX0" fmla="*/ 0 w 1524000"/>
              <a:gd name="connsiteY0" fmla="*/ 261656 h 773080"/>
              <a:gd name="connsiteX1" fmla="*/ 358320 w 1524000"/>
              <a:gd name="connsiteY1" fmla="*/ 0 h 773080"/>
              <a:gd name="connsiteX2" fmla="*/ 1395586 w 1524000"/>
              <a:gd name="connsiteY2" fmla="*/ 2613 h 773080"/>
              <a:gd name="connsiteX3" fmla="*/ 1524000 w 1524000"/>
              <a:gd name="connsiteY3" fmla="*/ 131027 h 773080"/>
              <a:gd name="connsiteX4" fmla="*/ 1524000 w 1524000"/>
              <a:gd name="connsiteY4" fmla="*/ 644666 h 773080"/>
              <a:gd name="connsiteX5" fmla="*/ 1395586 w 1524000"/>
              <a:gd name="connsiteY5" fmla="*/ 773080 h 773080"/>
              <a:gd name="connsiteX6" fmla="*/ 128414 w 1524000"/>
              <a:gd name="connsiteY6" fmla="*/ 773080 h 773080"/>
              <a:gd name="connsiteX7" fmla="*/ 0 w 1524000"/>
              <a:gd name="connsiteY7" fmla="*/ 644666 h 773080"/>
              <a:gd name="connsiteX8" fmla="*/ 0 w 1524000"/>
              <a:gd name="connsiteY8" fmla="*/ 261656 h 773080"/>
              <a:gd name="connsiteX0" fmla="*/ 0 w 1524000"/>
              <a:gd name="connsiteY0" fmla="*/ 261656 h 773080"/>
              <a:gd name="connsiteX1" fmla="*/ 358320 w 1524000"/>
              <a:gd name="connsiteY1" fmla="*/ 0 h 773080"/>
              <a:gd name="connsiteX2" fmla="*/ 1395586 w 1524000"/>
              <a:gd name="connsiteY2" fmla="*/ 2613 h 773080"/>
              <a:gd name="connsiteX3" fmla="*/ 1524000 w 1524000"/>
              <a:gd name="connsiteY3" fmla="*/ 131027 h 773080"/>
              <a:gd name="connsiteX4" fmla="*/ 1524000 w 1524000"/>
              <a:gd name="connsiteY4" fmla="*/ 644666 h 773080"/>
              <a:gd name="connsiteX5" fmla="*/ 1395586 w 1524000"/>
              <a:gd name="connsiteY5" fmla="*/ 773080 h 773080"/>
              <a:gd name="connsiteX6" fmla="*/ 128414 w 1524000"/>
              <a:gd name="connsiteY6" fmla="*/ 773080 h 773080"/>
              <a:gd name="connsiteX7" fmla="*/ 0 w 1524000"/>
              <a:gd name="connsiteY7" fmla="*/ 644666 h 773080"/>
              <a:gd name="connsiteX8" fmla="*/ 0 w 1524000"/>
              <a:gd name="connsiteY8" fmla="*/ 261656 h 773080"/>
              <a:gd name="connsiteX0" fmla="*/ 0 w 1524000"/>
              <a:gd name="connsiteY0" fmla="*/ 316520 h 773080"/>
              <a:gd name="connsiteX1" fmla="*/ 358320 w 1524000"/>
              <a:gd name="connsiteY1" fmla="*/ 0 h 773080"/>
              <a:gd name="connsiteX2" fmla="*/ 1395586 w 1524000"/>
              <a:gd name="connsiteY2" fmla="*/ 2613 h 773080"/>
              <a:gd name="connsiteX3" fmla="*/ 1524000 w 1524000"/>
              <a:gd name="connsiteY3" fmla="*/ 131027 h 773080"/>
              <a:gd name="connsiteX4" fmla="*/ 1524000 w 1524000"/>
              <a:gd name="connsiteY4" fmla="*/ 644666 h 773080"/>
              <a:gd name="connsiteX5" fmla="*/ 1395586 w 1524000"/>
              <a:gd name="connsiteY5" fmla="*/ 773080 h 773080"/>
              <a:gd name="connsiteX6" fmla="*/ 128414 w 1524000"/>
              <a:gd name="connsiteY6" fmla="*/ 773080 h 773080"/>
              <a:gd name="connsiteX7" fmla="*/ 0 w 1524000"/>
              <a:gd name="connsiteY7" fmla="*/ 644666 h 773080"/>
              <a:gd name="connsiteX8" fmla="*/ 0 w 1524000"/>
              <a:gd name="connsiteY8" fmla="*/ 316520 h 773080"/>
              <a:gd name="connsiteX0" fmla="*/ 0 w 1524000"/>
              <a:gd name="connsiteY0" fmla="*/ 313907 h 770467"/>
              <a:gd name="connsiteX1" fmla="*/ 431472 w 1524000"/>
              <a:gd name="connsiteY1" fmla="*/ 0 h 770467"/>
              <a:gd name="connsiteX2" fmla="*/ 1395586 w 1524000"/>
              <a:gd name="connsiteY2" fmla="*/ 0 h 770467"/>
              <a:gd name="connsiteX3" fmla="*/ 1524000 w 1524000"/>
              <a:gd name="connsiteY3" fmla="*/ 128414 h 770467"/>
              <a:gd name="connsiteX4" fmla="*/ 1524000 w 1524000"/>
              <a:gd name="connsiteY4" fmla="*/ 642053 h 770467"/>
              <a:gd name="connsiteX5" fmla="*/ 1395586 w 1524000"/>
              <a:gd name="connsiteY5" fmla="*/ 770467 h 770467"/>
              <a:gd name="connsiteX6" fmla="*/ 128414 w 1524000"/>
              <a:gd name="connsiteY6" fmla="*/ 770467 h 770467"/>
              <a:gd name="connsiteX7" fmla="*/ 0 w 1524000"/>
              <a:gd name="connsiteY7" fmla="*/ 642053 h 770467"/>
              <a:gd name="connsiteX8" fmla="*/ 0 w 1524000"/>
              <a:gd name="connsiteY8" fmla="*/ 313907 h 770467"/>
              <a:gd name="connsiteX0" fmla="*/ 0 w 1524000"/>
              <a:gd name="connsiteY0" fmla="*/ 313907 h 770467"/>
              <a:gd name="connsiteX1" fmla="*/ 431472 w 1524000"/>
              <a:gd name="connsiteY1" fmla="*/ 0 h 770467"/>
              <a:gd name="connsiteX2" fmla="*/ 1395586 w 1524000"/>
              <a:gd name="connsiteY2" fmla="*/ 0 h 770467"/>
              <a:gd name="connsiteX3" fmla="*/ 1524000 w 1524000"/>
              <a:gd name="connsiteY3" fmla="*/ 128414 h 770467"/>
              <a:gd name="connsiteX4" fmla="*/ 1524000 w 1524000"/>
              <a:gd name="connsiteY4" fmla="*/ 642053 h 770467"/>
              <a:gd name="connsiteX5" fmla="*/ 1395586 w 1524000"/>
              <a:gd name="connsiteY5" fmla="*/ 770467 h 770467"/>
              <a:gd name="connsiteX6" fmla="*/ 128414 w 1524000"/>
              <a:gd name="connsiteY6" fmla="*/ 770467 h 770467"/>
              <a:gd name="connsiteX7" fmla="*/ 0 w 1524000"/>
              <a:gd name="connsiteY7" fmla="*/ 642053 h 770467"/>
              <a:gd name="connsiteX8" fmla="*/ 0 w 1524000"/>
              <a:gd name="connsiteY8" fmla="*/ 313907 h 770467"/>
              <a:gd name="connsiteX0" fmla="*/ 0 w 1524000"/>
              <a:gd name="connsiteY0" fmla="*/ 313907 h 770467"/>
              <a:gd name="connsiteX1" fmla="*/ 431472 w 1524000"/>
              <a:gd name="connsiteY1" fmla="*/ 0 h 770467"/>
              <a:gd name="connsiteX2" fmla="*/ 1395586 w 1524000"/>
              <a:gd name="connsiteY2" fmla="*/ 0 h 770467"/>
              <a:gd name="connsiteX3" fmla="*/ 1524000 w 1524000"/>
              <a:gd name="connsiteY3" fmla="*/ 128414 h 770467"/>
              <a:gd name="connsiteX4" fmla="*/ 1524000 w 1524000"/>
              <a:gd name="connsiteY4" fmla="*/ 642053 h 770467"/>
              <a:gd name="connsiteX5" fmla="*/ 1395586 w 1524000"/>
              <a:gd name="connsiteY5" fmla="*/ 770467 h 770467"/>
              <a:gd name="connsiteX6" fmla="*/ 128414 w 1524000"/>
              <a:gd name="connsiteY6" fmla="*/ 770467 h 770467"/>
              <a:gd name="connsiteX7" fmla="*/ 0 w 1524000"/>
              <a:gd name="connsiteY7" fmla="*/ 642053 h 770467"/>
              <a:gd name="connsiteX8" fmla="*/ 0 w 1524000"/>
              <a:gd name="connsiteY8" fmla="*/ 313907 h 770467"/>
              <a:gd name="connsiteX0" fmla="*/ 0 w 1529225"/>
              <a:gd name="connsiteY0" fmla="*/ 387059 h 770467"/>
              <a:gd name="connsiteX1" fmla="*/ 436697 w 1529225"/>
              <a:gd name="connsiteY1" fmla="*/ 0 h 770467"/>
              <a:gd name="connsiteX2" fmla="*/ 1400811 w 1529225"/>
              <a:gd name="connsiteY2" fmla="*/ 0 h 770467"/>
              <a:gd name="connsiteX3" fmla="*/ 1529225 w 1529225"/>
              <a:gd name="connsiteY3" fmla="*/ 128414 h 770467"/>
              <a:gd name="connsiteX4" fmla="*/ 1529225 w 1529225"/>
              <a:gd name="connsiteY4" fmla="*/ 642053 h 770467"/>
              <a:gd name="connsiteX5" fmla="*/ 1400811 w 1529225"/>
              <a:gd name="connsiteY5" fmla="*/ 770467 h 770467"/>
              <a:gd name="connsiteX6" fmla="*/ 133639 w 1529225"/>
              <a:gd name="connsiteY6" fmla="*/ 770467 h 770467"/>
              <a:gd name="connsiteX7" fmla="*/ 5225 w 1529225"/>
              <a:gd name="connsiteY7" fmla="*/ 642053 h 770467"/>
              <a:gd name="connsiteX8" fmla="*/ 0 w 1529225"/>
              <a:gd name="connsiteY8" fmla="*/ 387059 h 770467"/>
              <a:gd name="connsiteX0" fmla="*/ 0 w 1529225"/>
              <a:gd name="connsiteY0" fmla="*/ 387059 h 813446"/>
              <a:gd name="connsiteX1" fmla="*/ 436697 w 1529225"/>
              <a:gd name="connsiteY1" fmla="*/ 0 h 813446"/>
              <a:gd name="connsiteX2" fmla="*/ 1400811 w 1529225"/>
              <a:gd name="connsiteY2" fmla="*/ 0 h 813446"/>
              <a:gd name="connsiteX3" fmla="*/ 1529225 w 1529225"/>
              <a:gd name="connsiteY3" fmla="*/ 128414 h 813446"/>
              <a:gd name="connsiteX4" fmla="*/ 1529225 w 1529225"/>
              <a:gd name="connsiteY4" fmla="*/ 642053 h 813446"/>
              <a:gd name="connsiteX5" fmla="*/ 1400811 w 1529225"/>
              <a:gd name="connsiteY5" fmla="*/ 770467 h 813446"/>
              <a:gd name="connsiteX6" fmla="*/ 133639 w 1529225"/>
              <a:gd name="connsiteY6" fmla="*/ 770467 h 813446"/>
              <a:gd name="connsiteX7" fmla="*/ 5225 w 1529225"/>
              <a:gd name="connsiteY7" fmla="*/ 642053 h 813446"/>
              <a:gd name="connsiteX8" fmla="*/ 0 w 1529225"/>
              <a:gd name="connsiteY8" fmla="*/ 387059 h 813446"/>
              <a:gd name="connsiteX0" fmla="*/ 42149 w 1571374"/>
              <a:gd name="connsiteY0" fmla="*/ 387059 h 770467"/>
              <a:gd name="connsiteX1" fmla="*/ 478846 w 1571374"/>
              <a:gd name="connsiteY1" fmla="*/ 0 h 770467"/>
              <a:gd name="connsiteX2" fmla="*/ 1442960 w 1571374"/>
              <a:gd name="connsiteY2" fmla="*/ 0 h 770467"/>
              <a:gd name="connsiteX3" fmla="*/ 1571374 w 1571374"/>
              <a:gd name="connsiteY3" fmla="*/ 128414 h 770467"/>
              <a:gd name="connsiteX4" fmla="*/ 1571374 w 1571374"/>
              <a:gd name="connsiteY4" fmla="*/ 642053 h 770467"/>
              <a:gd name="connsiteX5" fmla="*/ 1442960 w 1571374"/>
              <a:gd name="connsiteY5" fmla="*/ 770467 h 770467"/>
              <a:gd name="connsiteX6" fmla="*/ 175788 w 1571374"/>
              <a:gd name="connsiteY6" fmla="*/ 770467 h 770467"/>
              <a:gd name="connsiteX7" fmla="*/ 42149 w 1571374"/>
              <a:gd name="connsiteY7" fmla="*/ 387059 h 770467"/>
              <a:gd name="connsiteX0" fmla="*/ 44823 w 1574048"/>
              <a:gd name="connsiteY0" fmla="*/ 387059 h 770467"/>
              <a:gd name="connsiteX1" fmla="*/ 481520 w 1574048"/>
              <a:gd name="connsiteY1" fmla="*/ 0 h 770467"/>
              <a:gd name="connsiteX2" fmla="*/ 1445634 w 1574048"/>
              <a:gd name="connsiteY2" fmla="*/ 0 h 770467"/>
              <a:gd name="connsiteX3" fmla="*/ 1574048 w 1574048"/>
              <a:gd name="connsiteY3" fmla="*/ 128414 h 770467"/>
              <a:gd name="connsiteX4" fmla="*/ 1574048 w 1574048"/>
              <a:gd name="connsiteY4" fmla="*/ 642053 h 770467"/>
              <a:gd name="connsiteX5" fmla="*/ 1445634 w 1574048"/>
              <a:gd name="connsiteY5" fmla="*/ 770467 h 770467"/>
              <a:gd name="connsiteX6" fmla="*/ 178462 w 1574048"/>
              <a:gd name="connsiteY6" fmla="*/ 770467 h 770467"/>
              <a:gd name="connsiteX7" fmla="*/ 44823 w 1574048"/>
              <a:gd name="connsiteY7" fmla="*/ 387059 h 770467"/>
              <a:gd name="connsiteX0" fmla="*/ 20461 w 1549686"/>
              <a:gd name="connsiteY0" fmla="*/ 387059 h 770467"/>
              <a:gd name="connsiteX1" fmla="*/ 457158 w 1549686"/>
              <a:gd name="connsiteY1" fmla="*/ 0 h 770467"/>
              <a:gd name="connsiteX2" fmla="*/ 1421272 w 1549686"/>
              <a:gd name="connsiteY2" fmla="*/ 0 h 770467"/>
              <a:gd name="connsiteX3" fmla="*/ 1549686 w 1549686"/>
              <a:gd name="connsiteY3" fmla="*/ 128414 h 770467"/>
              <a:gd name="connsiteX4" fmla="*/ 1549686 w 1549686"/>
              <a:gd name="connsiteY4" fmla="*/ 642053 h 770467"/>
              <a:gd name="connsiteX5" fmla="*/ 1421272 w 1549686"/>
              <a:gd name="connsiteY5" fmla="*/ 770467 h 770467"/>
              <a:gd name="connsiteX6" fmla="*/ 154100 w 1549686"/>
              <a:gd name="connsiteY6" fmla="*/ 770467 h 770467"/>
              <a:gd name="connsiteX7" fmla="*/ 20461 w 1549686"/>
              <a:gd name="connsiteY7" fmla="*/ 387059 h 770467"/>
              <a:gd name="connsiteX0" fmla="*/ 24550 w 1553775"/>
              <a:gd name="connsiteY0" fmla="*/ 387059 h 770467"/>
              <a:gd name="connsiteX1" fmla="*/ 461247 w 1553775"/>
              <a:gd name="connsiteY1" fmla="*/ 0 h 770467"/>
              <a:gd name="connsiteX2" fmla="*/ 1425361 w 1553775"/>
              <a:gd name="connsiteY2" fmla="*/ 0 h 770467"/>
              <a:gd name="connsiteX3" fmla="*/ 1553775 w 1553775"/>
              <a:gd name="connsiteY3" fmla="*/ 128414 h 770467"/>
              <a:gd name="connsiteX4" fmla="*/ 1553775 w 1553775"/>
              <a:gd name="connsiteY4" fmla="*/ 642053 h 770467"/>
              <a:gd name="connsiteX5" fmla="*/ 1425361 w 1553775"/>
              <a:gd name="connsiteY5" fmla="*/ 770467 h 770467"/>
              <a:gd name="connsiteX6" fmla="*/ 158189 w 1553775"/>
              <a:gd name="connsiteY6" fmla="*/ 770467 h 770467"/>
              <a:gd name="connsiteX7" fmla="*/ 24550 w 1553775"/>
              <a:gd name="connsiteY7" fmla="*/ 387059 h 770467"/>
              <a:gd name="connsiteX0" fmla="*/ 23628 w 1552853"/>
              <a:gd name="connsiteY0" fmla="*/ 387059 h 770467"/>
              <a:gd name="connsiteX1" fmla="*/ 460325 w 1552853"/>
              <a:gd name="connsiteY1" fmla="*/ 0 h 770467"/>
              <a:gd name="connsiteX2" fmla="*/ 1424439 w 1552853"/>
              <a:gd name="connsiteY2" fmla="*/ 0 h 770467"/>
              <a:gd name="connsiteX3" fmla="*/ 1552853 w 1552853"/>
              <a:gd name="connsiteY3" fmla="*/ 128414 h 770467"/>
              <a:gd name="connsiteX4" fmla="*/ 1552853 w 1552853"/>
              <a:gd name="connsiteY4" fmla="*/ 642053 h 770467"/>
              <a:gd name="connsiteX5" fmla="*/ 1424439 w 1552853"/>
              <a:gd name="connsiteY5" fmla="*/ 770467 h 770467"/>
              <a:gd name="connsiteX6" fmla="*/ 157267 w 1552853"/>
              <a:gd name="connsiteY6" fmla="*/ 770467 h 770467"/>
              <a:gd name="connsiteX7" fmla="*/ 23628 w 1552853"/>
              <a:gd name="connsiteY7" fmla="*/ 387059 h 770467"/>
              <a:gd name="connsiteX0" fmla="*/ 15280 w 1544505"/>
              <a:gd name="connsiteY0" fmla="*/ 387059 h 776281"/>
              <a:gd name="connsiteX1" fmla="*/ 451977 w 1544505"/>
              <a:gd name="connsiteY1" fmla="*/ 0 h 776281"/>
              <a:gd name="connsiteX2" fmla="*/ 1416091 w 1544505"/>
              <a:gd name="connsiteY2" fmla="*/ 0 h 776281"/>
              <a:gd name="connsiteX3" fmla="*/ 1544505 w 1544505"/>
              <a:gd name="connsiteY3" fmla="*/ 128414 h 776281"/>
              <a:gd name="connsiteX4" fmla="*/ 1544505 w 1544505"/>
              <a:gd name="connsiteY4" fmla="*/ 642053 h 776281"/>
              <a:gd name="connsiteX5" fmla="*/ 1416091 w 1544505"/>
              <a:gd name="connsiteY5" fmla="*/ 770467 h 776281"/>
              <a:gd name="connsiteX6" fmla="*/ 148919 w 1544505"/>
              <a:gd name="connsiteY6" fmla="*/ 770467 h 776281"/>
              <a:gd name="connsiteX7" fmla="*/ 15280 w 1544505"/>
              <a:gd name="connsiteY7" fmla="*/ 387059 h 776281"/>
              <a:gd name="connsiteX0" fmla="*/ 97704 w 1626929"/>
              <a:gd name="connsiteY0" fmla="*/ 387059 h 778286"/>
              <a:gd name="connsiteX1" fmla="*/ 534401 w 1626929"/>
              <a:gd name="connsiteY1" fmla="*/ 0 h 778286"/>
              <a:gd name="connsiteX2" fmla="*/ 1498515 w 1626929"/>
              <a:gd name="connsiteY2" fmla="*/ 0 h 778286"/>
              <a:gd name="connsiteX3" fmla="*/ 1626929 w 1626929"/>
              <a:gd name="connsiteY3" fmla="*/ 128414 h 778286"/>
              <a:gd name="connsiteX4" fmla="*/ 1626929 w 1626929"/>
              <a:gd name="connsiteY4" fmla="*/ 642053 h 778286"/>
              <a:gd name="connsiteX5" fmla="*/ 1498515 w 1626929"/>
              <a:gd name="connsiteY5" fmla="*/ 770467 h 778286"/>
              <a:gd name="connsiteX6" fmla="*/ 116390 w 1626929"/>
              <a:gd name="connsiteY6" fmla="*/ 773080 h 778286"/>
              <a:gd name="connsiteX7" fmla="*/ 97704 w 1626929"/>
              <a:gd name="connsiteY7" fmla="*/ 387059 h 778286"/>
              <a:gd name="connsiteX0" fmla="*/ 27390 w 1556615"/>
              <a:gd name="connsiteY0" fmla="*/ 387059 h 773125"/>
              <a:gd name="connsiteX1" fmla="*/ 464087 w 1556615"/>
              <a:gd name="connsiteY1" fmla="*/ 0 h 773125"/>
              <a:gd name="connsiteX2" fmla="*/ 1428201 w 1556615"/>
              <a:gd name="connsiteY2" fmla="*/ 0 h 773125"/>
              <a:gd name="connsiteX3" fmla="*/ 1556615 w 1556615"/>
              <a:gd name="connsiteY3" fmla="*/ 128414 h 773125"/>
              <a:gd name="connsiteX4" fmla="*/ 1556615 w 1556615"/>
              <a:gd name="connsiteY4" fmla="*/ 642053 h 773125"/>
              <a:gd name="connsiteX5" fmla="*/ 1428201 w 1556615"/>
              <a:gd name="connsiteY5" fmla="*/ 770467 h 773125"/>
              <a:gd name="connsiteX6" fmla="*/ 46076 w 1556615"/>
              <a:gd name="connsiteY6" fmla="*/ 773080 h 773125"/>
              <a:gd name="connsiteX7" fmla="*/ 27390 w 1556615"/>
              <a:gd name="connsiteY7" fmla="*/ 387059 h 773125"/>
              <a:gd name="connsiteX0" fmla="*/ 27468 w 1556693"/>
              <a:gd name="connsiteY0" fmla="*/ 387059 h 773080"/>
              <a:gd name="connsiteX1" fmla="*/ 464165 w 1556693"/>
              <a:gd name="connsiteY1" fmla="*/ 0 h 773080"/>
              <a:gd name="connsiteX2" fmla="*/ 1428279 w 1556693"/>
              <a:gd name="connsiteY2" fmla="*/ 0 h 773080"/>
              <a:gd name="connsiteX3" fmla="*/ 1556693 w 1556693"/>
              <a:gd name="connsiteY3" fmla="*/ 128414 h 773080"/>
              <a:gd name="connsiteX4" fmla="*/ 1556693 w 1556693"/>
              <a:gd name="connsiteY4" fmla="*/ 642053 h 773080"/>
              <a:gd name="connsiteX5" fmla="*/ 1428279 w 1556693"/>
              <a:gd name="connsiteY5" fmla="*/ 770467 h 773080"/>
              <a:gd name="connsiteX6" fmla="*/ 46154 w 1556693"/>
              <a:gd name="connsiteY6" fmla="*/ 773080 h 773080"/>
              <a:gd name="connsiteX7" fmla="*/ 27468 w 1556693"/>
              <a:gd name="connsiteY7" fmla="*/ 387059 h 773080"/>
              <a:gd name="connsiteX0" fmla="*/ 21247 w 1550472"/>
              <a:gd name="connsiteY0" fmla="*/ 387059 h 773080"/>
              <a:gd name="connsiteX1" fmla="*/ 457944 w 1550472"/>
              <a:gd name="connsiteY1" fmla="*/ 0 h 773080"/>
              <a:gd name="connsiteX2" fmla="*/ 1422058 w 1550472"/>
              <a:gd name="connsiteY2" fmla="*/ 0 h 773080"/>
              <a:gd name="connsiteX3" fmla="*/ 1550472 w 1550472"/>
              <a:gd name="connsiteY3" fmla="*/ 128414 h 773080"/>
              <a:gd name="connsiteX4" fmla="*/ 1550472 w 1550472"/>
              <a:gd name="connsiteY4" fmla="*/ 642053 h 773080"/>
              <a:gd name="connsiteX5" fmla="*/ 1422058 w 1550472"/>
              <a:gd name="connsiteY5" fmla="*/ 770467 h 773080"/>
              <a:gd name="connsiteX6" fmla="*/ 39933 w 1550472"/>
              <a:gd name="connsiteY6" fmla="*/ 773080 h 773080"/>
              <a:gd name="connsiteX7" fmla="*/ 21247 w 1550472"/>
              <a:gd name="connsiteY7" fmla="*/ 387059 h 773080"/>
              <a:gd name="connsiteX0" fmla="*/ 20 w 1529245"/>
              <a:gd name="connsiteY0" fmla="*/ 387059 h 773080"/>
              <a:gd name="connsiteX1" fmla="*/ 436717 w 1529245"/>
              <a:gd name="connsiteY1" fmla="*/ 0 h 773080"/>
              <a:gd name="connsiteX2" fmla="*/ 1400831 w 1529245"/>
              <a:gd name="connsiteY2" fmla="*/ 0 h 773080"/>
              <a:gd name="connsiteX3" fmla="*/ 1529245 w 1529245"/>
              <a:gd name="connsiteY3" fmla="*/ 128414 h 773080"/>
              <a:gd name="connsiteX4" fmla="*/ 1529245 w 1529245"/>
              <a:gd name="connsiteY4" fmla="*/ 642053 h 773080"/>
              <a:gd name="connsiteX5" fmla="*/ 1400831 w 1529245"/>
              <a:gd name="connsiteY5" fmla="*/ 770467 h 773080"/>
              <a:gd name="connsiteX6" fmla="*/ 18706 w 1529245"/>
              <a:gd name="connsiteY6" fmla="*/ 773080 h 773080"/>
              <a:gd name="connsiteX7" fmla="*/ 20 w 1529245"/>
              <a:gd name="connsiteY7" fmla="*/ 387059 h 773080"/>
              <a:gd name="connsiteX0" fmla="*/ 29740 w 1558965"/>
              <a:gd name="connsiteY0" fmla="*/ 387059 h 770467"/>
              <a:gd name="connsiteX1" fmla="*/ 466437 w 1558965"/>
              <a:gd name="connsiteY1" fmla="*/ 0 h 770467"/>
              <a:gd name="connsiteX2" fmla="*/ 1430551 w 1558965"/>
              <a:gd name="connsiteY2" fmla="*/ 0 h 770467"/>
              <a:gd name="connsiteX3" fmla="*/ 1558965 w 1558965"/>
              <a:gd name="connsiteY3" fmla="*/ 128414 h 770467"/>
              <a:gd name="connsiteX4" fmla="*/ 1558965 w 1558965"/>
              <a:gd name="connsiteY4" fmla="*/ 642053 h 770467"/>
              <a:gd name="connsiteX5" fmla="*/ 1430551 w 1558965"/>
              <a:gd name="connsiteY5" fmla="*/ 770467 h 770467"/>
              <a:gd name="connsiteX6" fmla="*/ 40588 w 1558965"/>
              <a:gd name="connsiteY6" fmla="*/ 770467 h 770467"/>
              <a:gd name="connsiteX7" fmla="*/ 29740 w 1558965"/>
              <a:gd name="connsiteY7" fmla="*/ 387059 h 770467"/>
              <a:gd name="connsiteX0" fmla="*/ 574 w 1529799"/>
              <a:gd name="connsiteY0" fmla="*/ 387059 h 770467"/>
              <a:gd name="connsiteX1" fmla="*/ 437271 w 1529799"/>
              <a:gd name="connsiteY1" fmla="*/ 0 h 770467"/>
              <a:gd name="connsiteX2" fmla="*/ 1401385 w 1529799"/>
              <a:gd name="connsiteY2" fmla="*/ 0 h 770467"/>
              <a:gd name="connsiteX3" fmla="*/ 1529799 w 1529799"/>
              <a:gd name="connsiteY3" fmla="*/ 128414 h 770467"/>
              <a:gd name="connsiteX4" fmla="*/ 1529799 w 1529799"/>
              <a:gd name="connsiteY4" fmla="*/ 642053 h 770467"/>
              <a:gd name="connsiteX5" fmla="*/ 1401385 w 1529799"/>
              <a:gd name="connsiteY5" fmla="*/ 770467 h 770467"/>
              <a:gd name="connsiteX6" fmla="*/ 11422 w 1529799"/>
              <a:gd name="connsiteY6" fmla="*/ 770467 h 770467"/>
              <a:gd name="connsiteX7" fmla="*/ 574 w 1529799"/>
              <a:gd name="connsiteY7" fmla="*/ 387059 h 770467"/>
              <a:gd name="connsiteX0" fmla="*/ 23189 w 1552414"/>
              <a:gd name="connsiteY0" fmla="*/ 389671 h 773079"/>
              <a:gd name="connsiteX1" fmla="*/ 371058 w 1552414"/>
              <a:gd name="connsiteY1" fmla="*/ 0 h 773079"/>
              <a:gd name="connsiteX2" fmla="*/ 1424000 w 1552414"/>
              <a:gd name="connsiteY2" fmla="*/ 2612 h 773079"/>
              <a:gd name="connsiteX3" fmla="*/ 1552414 w 1552414"/>
              <a:gd name="connsiteY3" fmla="*/ 131026 h 773079"/>
              <a:gd name="connsiteX4" fmla="*/ 1552414 w 1552414"/>
              <a:gd name="connsiteY4" fmla="*/ 644665 h 773079"/>
              <a:gd name="connsiteX5" fmla="*/ 1424000 w 1552414"/>
              <a:gd name="connsiteY5" fmla="*/ 773079 h 773079"/>
              <a:gd name="connsiteX6" fmla="*/ 34037 w 1552414"/>
              <a:gd name="connsiteY6" fmla="*/ 773079 h 773079"/>
              <a:gd name="connsiteX7" fmla="*/ 23189 w 1552414"/>
              <a:gd name="connsiteY7" fmla="*/ 389671 h 773079"/>
              <a:gd name="connsiteX0" fmla="*/ 127747 w 1628234"/>
              <a:gd name="connsiteY0" fmla="*/ 316519 h 806898"/>
              <a:gd name="connsiteX1" fmla="*/ 446878 w 1628234"/>
              <a:gd name="connsiteY1" fmla="*/ 0 h 806898"/>
              <a:gd name="connsiteX2" fmla="*/ 1499820 w 1628234"/>
              <a:gd name="connsiteY2" fmla="*/ 2612 h 806898"/>
              <a:gd name="connsiteX3" fmla="*/ 1628234 w 1628234"/>
              <a:gd name="connsiteY3" fmla="*/ 131026 h 806898"/>
              <a:gd name="connsiteX4" fmla="*/ 1628234 w 1628234"/>
              <a:gd name="connsiteY4" fmla="*/ 644665 h 806898"/>
              <a:gd name="connsiteX5" fmla="*/ 1499820 w 1628234"/>
              <a:gd name="connsiteY5" fmla="*/ 773079 h 806898"/>
              <a:gd name="connsiteX6" fmla="*/ 109857 w 1628234"/>
              <a:gd name="connsiteY6" fmla="*/ 773079 h 806898"/>
              <a:gd name="connsiteX7" fmla="*/ 127747 w 1628234"/>
              <a:gd name="connsiteY7" fmla="*/ 316519 h 806898"/>
              <a:gd name="connsiteX0" fmla="*/ 115355 w 1615842"/>
              <a:gd name="connsiteY0" fmla="*/ 316519 h 806898"/>
              <a:gd name="connsiteX1" fmla="*/ 434486 w 1615842"/>
              <a:gd name="connsiteY1" fmla="*/ 0 h 806898"/>
              <a:gd name="connsiteX2" fmla="*/ 1487428 w 1615842"/>
              <a:gd name="connsiteY2" fmla="*/ 2612 h 806898"/>
              <a:gd name="connsiteX3" fmla="*/ 1615842 w 1615842"/>
              <a:gd name="connsiteY3" fmla="*/ 131026 h 806898"/>
              <a:gd name="connsiteX4" fmla="*/ 1615842 w 1615842"/>
              <a:gd name="connsiteY4" fmla="*/ 644665 h 806898"/>
              <a:gd name="connsiteX5" fmla="*/ 1487428 w 1615842"/>
              <a:gd name="connsiteY5" fmla="*/ 773079 h 806898"/>
              <a:gd name="connsiteX6" fmla="*/ 97465 w 1615842"/>
              <a:gd name="connsiteY6" fmla="*/ 773079 h 806898"/>
              <a:gd name="connsiteX7" fmla="*/ 115355 w 1615842"/>
              <a:gd name="connsiteY7" fmla="*/ 316519 h 806898"/>
              <a:gd name="connsiteX0" fmla="*/ 17967 w 1518454"/>
              <a:gd name="connsiteY0" fmla="*/ 316519 h 797763"/>
              <a:gd name="connsiteX1" fmla="*/ 337098 w 1518454"/>
              <a:gd name="connsiteY1" fmla="*/ 0 h 797763"/>
              <a:gd name="connsiteX2" fmla="*/ 1390040 w 1518454"/>
              <a:gd name="connsiteY2" fmla="*/ 2612 h 797763"/>
              <a:gd name="connsiteX3" fmla="*/ 1518454 w 1518454"/>
              <a:gd name="connsiteY3" fmla="*/ 131026 h 797763"/>
              <a:gd name="connsiteX4" fmla="*/ 1518454 w 1518454"/>
              <a:gd name="connsiteY4" fmla="*/ 644665 h 797763"/>
              <a:gd name="connsiteX5" fmla="*/ 1390040 w 1518454"/>
              <a:gd name="connsiteY5" fmla="*/ 773079 h 797763"/>
              <a:gd name="connsiteX6" fmla="*/ 77 w 1518454"/>
              <a:gd name="connsiteY6" fmla="*/ 773079 h 797763"/>
              <a:gd name="connsiteX7" fmla="*/ 17967 w 1518454"/>
              <a:gd name="connsiteY7" fmla="*/ 316519 h 797763"/>
              <a:gd name="connsiteX0" fmla="*/ 17890 w 1518377"/>
              <a:gd name="connsiteY0" fmla="*/ 316519 h 773079"/>
              <a:gd name="connsiteX1" fmla="*/ 337021 w 1518377"/>
              <a:gd name="connsiteY1" fmla="*/ 0 h 773079"/>
              <a:gd name="connsiteX2" fmla="*/ 1389963 w 1518377"/>
              <a:gd name="connsiteY2" fmla="*/ 2612 h 773079"/>
              <a:gd name="connsiteX3" fmla="*/ 1518377 w 1518377"/>
              <a:gd name="connsiteY3" fmla="*/ 131026 h 773079"/>
              <a:gd name="connsiteX4" fmla="*/ 1518377 w 1518377"/>
              <a:gd name="connsiteY4" fmla="*/ 644665 h 773079"/>
              <a:gd name="connsiteX5" fmla="*/ 1389963 w 1518377"/>
              <a:gd name="connsiteY5" fmla="*/ 773079 h 773079"/>
              <a:gd name="connsiteX6" fmla="*/ 0 w 1518377"/>
              <a:gd name="connsiteY6" fmla="*/ 773079 h 773079"/>
              <a:gd name="connsiteX7" fmla="*/ 17890 w 1518377"/>
              <a:gd name="connsiteY7" fmla="*/ 316519 h 773079"/>
              <a:gd name="connsiteX0" fmla="*/ 25929 w 1526416"/>
              <a:gd name="connsiteY0" fmla="*/ 316519 h 775692"/>
              <a:gd name="connsiteX1" fmla="*/ 345060 w 1526416"/>
              <a:gd name="connsiteY1" fmla="*/ 0 h 775692"/>
              <a:gd name="connsiteX2" fmla="*/ 1398002 w 1526416"/>
              <a:gd name="connsiteY2" fmla="*/ 2612 h 775692"/>
              <a:gd name="connsiteX3" fmla="*/ 1526416 w 1526416"/>
              <a:gd name="connsiteY3" fmla="*/ 131026 h 775692"/>
              <a:gd name="connsiteX4" fmla="*/ 1526416 w 1526416"/>
              <a:gd name="connsiteY4" fmla="*/ 644665 h 775692"/>
              <a:gd name="connsiteX5" fmla="*/ 1398002 w 1526416"/>
              <a:gd name="connsiteY5" fmla="*/ 773079 h 775692"/>
              <a:gd name="connsiteX6" fmla="*/ 18489 w 1526416"/>
              <a:gd name="connsiteY6" fmla="*/ 775692 h 775692"/>
              <a:gd name="connsiteX7" fmla="*/ 25929 w 1526416"/>
              <a:gd name="connsiteY7" fmla="*/ 316519 h 775692"/>
              <a:gd name="connsiteX0" fmla="*/ 7440 w 1507927"/>
              <a:gd name="connsiteY0" fmla="*/ 316519 h 775692"/>
              <a:gd name="connsiteX1" fmla="*/ 326571 w 1507927"/>
              <a:gd name="connsiteY1" fmla="*/ 0 h 775692"/>
              <a:gd name="connsiteX2" fmla="*/ 1379513 w 1507927"/>
              <a:gd name="connsiteY2" fmla="*/ 2612 h 775692"/>
              <a:gd name="connsiteX3" fmla="*/ 1507927 w 1507927"/>
              <a:gd name="connsiteY3" fmla="*/ 131026 h 775692"/>
              <a:gd name="connsiteX4" fmla="*/ 1507927 w 1507927"/>
              <a:gd name="connsiteY4" fmla="*/ 644665 h 775692"/>
              <a:gd name="connsiteX5" fmla="*/ 1379513 w 1507927"/>
              <a:gd name="connsiteY5" fmla="*/ 773079 h 775692"/>
              <a:gd name="connsiteX6" fmla="*/ 0 w 1507927"/>
              <a:gd name="connsiteY6" fmla="*/ 775692 h 775692"/>
              <a:gd name="connsiteX7" fmla="*/ 7440 w 1507927"/>
              <a:gd name="connsiteY7" fmla="*/ 316519 h 775692"/>
              <a:gd name="connsiteX0" fmla="*/ 7440 w 1507927"/>
              <a:gd name="connsiteY0" fmla="*/ 316519 h 775692"/>
              <a:gd name="connsiteX1" fmla="*/ 326571 w 1507927"/>
              <a:gd name="connsiteY1" fmla="*/ 0 h 775692"/>
              <a:gd name="connsiteX2" fmla="*/ 1379513 w 1507927"/>
              <a:gd name="connsiteY2" fmla="*/ 2612 h 775692"/>
              <a:gd name="connsiteX3" fmla="*/ 1507927 w 1507927"/>
              <a:gd name="connsiteY3" fmla="*/ 131026 h 775692"/>
              <a:gd name="connsiteX4" fmla="*/ 1507927 w 1507927"/>
              <a:gd name="connsiteY4" fmla="*/ 644665 h 775692"/>
              <a:gd name="connsiteX5" fmla="*/ 1379513 w 1507927"/>
              <a:gd name="connsiteY5" fmla="*/ 773079 h 775692"/>
              <a:gd name="connsiteX6" fmla="*/ 0 w 1507927"/>
              <a:gd name="connsiteY6" fmla="*/ 775692 h 775692"/>
              <a:gd name="connsiteX7" fmla="*/ 7440 w 1507927"/>
              <a:gd name="connsiteY7" fmla="*/ 316519 h 775692"/>
              <a:gd name="connsiteX0" fmla="*/ 7440 w 1507927"/>
              <a:gd name="connsiteY0" fmla="*/ 316519 h 775692"/>
              <a:gd name="connsiteX1" fmla="*/ 326571 w 1507927"/>
              <a:gd name="connsiteY1" fmla="*/ 0 h 775692"/>
              <a:gd name="connsiteX2" fmla="*/ 1379513 w 1507927"/>
              <a:gd name="connsiteY2" fmla="*/ 2612 h 775692"/>
              <a:gd name="connsiteX3" fmla="*/ 1507927 w 1507927"/>
              <a:gd name="connsiteY3" fmla="*/ 131026 h 775692"/>
              <a:gd name="connsiteX4" fmla="*/ 1507927 w 1507927"/>
              <a:gd name="connsiteY4" fmla="*/ 644665 h 775692"/>
              <a:gd name="connsiteX5" fmla="*/ 1379513 w 1507927"/>
              <a:gd name="connsiteY5" fmla="*/ 773079 h 775692"/>
              <a:gd name="connsiteX6" fmla="*/ 0 w 1507927"/>
              <a:gd name="connsiteY6" fmla="*/ 775692 h 775692"/>
              <a:gd name="connsiteX7" fmla="*/ 7440 w 1507927"/>
              <a:gd name="connsiteY7" fmla="*/ 316519 h 775692"/>
              <a:gd name="connsiteX0" fmla="*/ 7440 w 1507927"/>
              <a:gd name="connsiteY0" fmla="*/ 316519 h 775692"/>
              <a:gd name="connsiteX1" fmla="*/ 326571 w 1507927"/>
              <a:gd name="connsiteY1" fmla="*/ 0 h 775692"/>
              <a:gd name="connsiteX2" fmla="*/ 1507927 w 1507927"/>
              <a:gd name="connsiteY2" fmla="*/ 131026 h 775692"/>
              <a:gd name="connsiteX3" fmla="*/ 1507927 w 1507927"/>
              <a:gd name="connsiteY3" fmla="*/ 644665 h 775692"/>
              <a:gd name="connsiteX4" fmla="*/ 1379513 w 1507927"/>
              <a:gd name="connsiteY4" fmla="*/ 773079 h 775692"/>
              <a:gd name="connsiteX5" fmla="*/ 0 w 1507927"/>
              <a:gd name="connsiteY5" fmla="*/ 775692 h 775692"/>
              <a:gd name="connsiteX6" fmla="*/ 7440 w 1507927"/>
              <a:gd name="connsiteY6" fmla="*/ 316519 h 775692"/>
              <a:gd name="connsiteX0" fmla="*/ 7440 w 1507927"/>
              <a:gd name="connsiteY0" fmla="*/ 316519 h 775692"/>
              <a:gd name="connsiteX1" fmla="*/ 326571 w 1507927"/>
              <a:gd name="connsiteY1" fmla="*/ 0 h 775692"/>
              <a:gd name="connsiteX2" fmla="*/ 1507927 w 1507927"/>
              <a:gd name="connsiteY2" fmla="*/ 131026 h 775692"/>
              <a:gd name="connsiteX3" fmla="*/ 1379513 w 1507927"/>
              <a:gd name="connsiteY3" fmla="*/ 773079 h 775692"/>
              <a:gd name="connsiteX4" fmla="*/ 0 w 1507927"/>
              <a:gd name="connsiteY4" fmla="*/ 775692 h 775692"/>
              <a:gd name="connsiteX5" fmla="*/ 7440 w 1507927"/>
              <a:gd name="connsiteY5" fmla="*/ 316519 h 775692"/>
              <a:gd name="connsiteX0" fmla="*/ 7440 w 1481801"/>
              <a:gd name="connsiteY0" fmla="*/ 316519 h 775692"/>
              <a:gd name="connsiteX1" fmla="*/ 326571 w 1481801"/>
              <a:gd name="connsiteY1" fmla="*/ 0 h 775692"/>
              <a:gd name="connsiteX2" fmla="*/ 1481801 w 1481801"/>
              <a:gd name="connsiteY2" fmla="*/ 18685 h 775692"/>
              <a:gd name="connsiteX3" fmla="*/ 1379513 w 1481801"/>
              <a:gd name="connsiteY3" fmla="*/ 773079 h 775692"/>
              <a:gd name="connsiteX4" fmla="*/ 0 w 1481801"/>
              <a:gd name="connsiteY4" fmla="*/ 775692 h 775692"/>
              <a:gd name="connsiteX5" fmla="*/ 7440 w 1481801"/>
              <a:gd name="connsiteY5" fmla="*/ 316519 h 775692"/>
              <a:gd name="connsiteX0" fmla="*/ 7440 w 1484414"/>
              <a:gd name="connsiteY0" fmla="*/ 316519 h 775692"/>
              <a:gd name="connsiteX1" fmla="*/ 326571 w 1484414"/>
              <a:gd name="connsiteY1" fmla="*/ 0 h 775692"/>
              <a:gd name="connsiteX2" fmla="*/ 1484414 w 1484414"/>
              <a:gd name="connsiteY2" fmla="*/ 397 h 775692"/>
              <a:gd name="connsiteX3" fmla="*/ 1379513 w 1484414"/>
              <a:gd name="connsiteY3" fmla="*/ 773079 h 775692"/>
              <a:gd name="connsiteX4" fmla="*/ 0 w 1484414"/>
              <a:gd name="connsiteY4" fmla="*/ 775692 h 775692"/>
              <a:gd name="connsiteX5" fmla="*/ 7440 w 1484414"/>
              <a:gd name="connsiteY5" fmla="*/ 316519 h 775692"/>
              <a:gd name="connsiteX0" fmla="*/ 7440 w 1476576"/>
              <a:gd name="connsiteY0" fmla="*/ 316519 h 775692"/>
              <a:gd name="connsiteX1" fmla="*/ 326571 w 1476576"/>
              <a:gd name="connsiteY1" fmla="*/ 0 h 775692"/>
              <a:gd name="connsiteX2" fmla="*/ 1476576 w 1476576"/>
              <a:gd name="connsiteY2" fmla="*/ 397 h 775692"/>
              <a:gd name="connsiteX3" fmla="*/ 1379513 w 1476576"/>
              <a:gd name="connsiteY3" fmla="*/ 773079 h 775692"/>
              <a:gd name="connsiteX4" fmla="*/ 0 w 1476576"/>
              <a:gd name="connsiteY4" fmla="*/ 775692 h 775692"/>
              <a:gd name="connsiteX5" fmla="*/ 7440 w 1476576"/>
              <a:gd name="connsiteY5" fmla="*/ 316519 h 775692"/>
              <a:gd name="connsiteX0" fmla="*/ 112688 w 1581824"/>
              <a:gd name="connsiteY0" fmla="*/ 316519 h 809034"/>
              <a:gd name="connsiteX1" fmla="*/ 431819 w 1581824"/>
              <a:gd name="connsiteY1" fmla="*/ 0 h 809034"/>
              <a:gd name="connsiteX2" fmla="*/ 1581824 w 1581824"/>
              <a:gd name="connsiteY2" fmla="*/ 397 h 809034"/>
              <a:gd name="connsiteX3" fmla="*/ 1557913 w 1581824"/>
              <a:gd name="connsiteY3" fmla="*/ 773079 h 809034"/>
              <a:gd name="connsiteX4" fmla="*/ 105248 w 1581824"/>
              <a:gd name="connsiteY4" fmla="*/ 775692 h 809034"/>
              <a:gd name="connsiteX5" fmla="*/ 112688 w 1581824"/>
              <a:gd name="connsiteY5" fmla="*/ 316519 h 809034"/>
              <a:gd name="connsiteX0" fmla="*/ 113655 w 1582791"/>
              <a:gd name="connsiteY0" fmla="*/ 316519 h 809034"/>
              <a:gd name="connsiteX1" fmla="*/ 432786 w 1582791"/>
              <a:gd name="connsiteY1" fmla="*/ 0 h 809034"/>
              <a:gd name="connsiteX2" fmla="*/ 1582791 w 1582791"/>
              <a:gd name="connsiteY2" fmla="*/ 397 h 809034"/>
              <a:gd name="connsiteX3" fmla="*/ 1571943 w 1582791"/>
              <a:gd name="connsiteY3" fmla="*/ 773079 h 809034"/>
              <a:gd name="connsiteX4" fmla="*/ 106215 w 1582791"/>
              <a:gd name="connsiteY4" fmla="*/ 775692 h 809034"/>
              <a:gd name="connsiteX5" fmla="*/ 113655 w 1582791"/>
              <a:gd name="connsiteY5" fmla="*/ 316519 h 809034"/>
              <a:gd name="connsiteX0" fmla="*/ 113655 w 1582791"/>
              <a:gd name="connsiteY0" fmla="*/ 316519 h 775692"/>
              <a:gd name="connsiteX1" fmla="*/ 432786 w 1582791"/>
              <a:gd name="connsiteY1" fmla="*/ 0 h 775692"/>
              <a:gd name="connsiteX2" fmla="*/ 1582791 w 1582791"/>
              <a:gd name="connsiteY2" fmla="*/ 397 h 775692"/>
              <a:gd name="connsiteX3" fmla="*/ 1571943 w 1582791"/>
              <a:gd name="connsiteY3" fmla="*/ 773079 h 775692"/>
              <a:gd name="connsiteX4" fmla="*/ 106215 w 1582791"/>
              <a:gd name="connsiteY4" fmla="*/ 775692 h 775692"/>
              <a:gd name="connsiteX5" fmla="*/ 113655 w 1582791"/>
              <a:gd name="connsiteY5" fmla="*/ 316519 h 775692"/>
              <a:gd name="connsiteX0" fmla="*/ 7441 w 1476577"/>
              <a:gd name="connsiteY0" fmla="*/ 316519 h 775731"/>
              <a:gd name="connsiteX1" fmla="*/ 326572 w 1476577"/>
              <a:gd name="connsiteY1" fmla="*/ 0 h 775731"/>
              <a:gd name="connsiteX2" fmla="*/ 1476577 w 1476577"/>
              <a:gd name="connsiteY2" fmla="*/ 397 h 775731"/>
              <a:gd name="connsiteX3" fmla="*/ 1465729 w 1476577"/>
              <a:gd name="connsiteY3" fmla="*/ 773079 h 775731"/>
              <a:gd name="connsiteX4" fmla="*/ 1 w 1476577"/>
              <a:gd name="connsiteY4" fmla="*/ 775692 h 775731"/>
              <a:gd name="connsiteX5" fmla="*/ 7441 w 1476577"/>
              <a:gd name="connsiteY5" fmla="*/ 316519 h 775731"/>
              <a:gd name="connsiteX0" fmla="*/ 21214 w 1490350"/>
              <a:gd name="connsiteY0" fmla="*/ 316519 h 775745"/>
              <a:gd name="connsiteX1" fmla="*/ 340345 w 1490350"/>
              <a:gd name="connsiteY1" fmla="*/ 0 h 775745"/>
              <a:gd name="connsiteX2" fmla="*/ 1490350 w 1490350"/>
              <a:gd name="connsiteY2" fmla="*/ 397 h 775745"/>
              <a:gd name="connsiteX3" fmla="*/ 1479502 w 1490350"/>
              <a:gd name="connsiteY3" fmla="*/ 773079 h 775745"/>
              <a:gd name="connsiteX4" fmla="*/ 29014 w 1490350"/>
              <a:gd name="connsiteY4" fmla="*/ 775692 h 775745"/>
              <a:gd name="connsiteX5" fmla="*/ 21214 w 1490350"/>
              <a:gd name="connsiteY5" fmla="*/ 316519 h 775745"/>
              <a:gd name="connsiteX0" fmla="*/ 4116 w 1473252"/>
              <a:gd name="connsiteY0" fmla="*/ 316519 h 775731"/>
              <a:gd name="connsiteX1" fmla="*/ 323247 w 1473252"/>
              <a:gd name="connsiteY1" fmla="*/ 0 h 775731"/>
              <a:gd name="connsiteX2" fmla="*/ 1473252 w 1473252"/>
              <a:gd name="connsiteY2" fmla="*/ 397 h 775731"/>
              <a:gd name="connsiteX3" fmla="*/ 1462404 w 1473252"/>
              <a:gd name="connsiteY3" fmla="*/ 773079 h 775731"/>
              <a:gd name="connsiteX4" fmla="*/ 11916 w 1473252"/>
              <a:gd name="connsiteY4" fmla="*/ 775692 h 775731"/>
              <a:gd name="connsiteX5" fmla="*/ 4116 w 1473252"/>
              <a:gd name="connsiteY5" fmla="*/ 316519 h 775731"/>
              <a:gd name="connsiteX0" fmla="*/ 23597 w 1492733"/>
              <a:gd name="connsiteY0" fmla="*/ 316519 h 775745"/>
              <a:gd name="connsiteX1" fmla="*/ 342728 w 1492733"/>
              <a:gd name="connsiteY1" fmla="*/ 0 h 775745"/>
              <a:gd name="connsiteX2" fmla="*/ 1492733 w 1492733"/>
              <a:gd name="connsiteY2" fmla="*/ 397 h 775745"/>
              <a:gd name="connsiteX3" fmla="*/ 1481885 w 1492733"/>
              <a:gd name="connsiteY3" fmla="*/ 773079 h 775745"/>
              <a:gd name="connsiteX4" fmla="*/ 23777 w 1492733"/>
              <a:gd name="connsiteY4" fmla="*/ 775692 h 775745"/>
              <a:gd name="connsiteX5" fmla="*/ 23597 w 1492733"/>
              <a:gd name="connsiteY5" fmla="*/ 316519 h 775745"/>
              <a:gd name="connsiteX0" fmla="*/ 2431 w 1471567"/>
              <a:gd name="connsiteY0" fmla="*/ 316519 h 775731"/>
              <a:gd name="connsiteX1" fmla="*/ 321562 w 1471567"/>
              <a:gd name="connsiteY1" fmla="*/ 0 h 775731"/>
              <a:gd name="connsiteX2" fmla="*/ 1471567 w 1471567"/>
              <a:gd name="connsiteY2" fmla="*/ 397 h 775731"/>
              <a:gd name="connsiteX3" fmla="*/ 1460719 w 1471567"/>
              <a:gd name="connsiteY3" fmla="*/ 773079 h 775731"/>
              <a:gd name="connsiteX4" fmla="*/ 2611 w 1471567"/>
              <a:gd name="connsiteY4" fmla="*/ 775692 h 775731"/>
              <a:gd name="connsiteX5" fmla="*/ 2431 w 1471567"/>
              <a:gd name="connsiteY5" fmla="*/ 316519 h 775731"/>
              <a:gd name="connsiteX0" fmla="*/ 178 w 1469314"/>
              <a:gd name="connsiteY0" fmla="*/ 316519 h 775731"/>
              <a:gd name="connsiteX1" fmla="*/ 319309 w 1469314"/>
              <a:gd name="connsiteY1" fmla="*/ 0 h 775731"/>
              <a:gd name="connsiteX2" fmla="*/ 1469314 w 1469314"/>
              <a:gd name="connsiteY2" fmla="*/ 397 h 775731"/>
              <a:gd name="connsiteX3" fmla="*/ 1458466 w 1469314"/>
              <a:gd name="connsiteY3" fmla="*/ 773079 h 775731"/>
              <a:gd name="connsiteX4" fmla="*/ 358 w 1469314"/>
              <a:gd name="connsiteY4" fmla="*/ 775692 h 775731"/>
              <a:gd name="connsiteX5" fmla="*/ 178 w 1469314"/>
              <a:gd name="connsiteY5" fmla="*/ 316519 h 775731"/>
              <a:gd name="connsiteX0" fmla="*/ 28535 w 1497671"/>
              <a:gd name="connsiteY0" fmla="*/ 316122 h 775348"/>
              <a:gd name="connsiteX1" fmla="*/ 414341 w 1497671"/>
              <a:gd name="connsiteY1" fmla="*/ 1508 h 775348"/>
              <a:gd name="connsiteX2" fmla="*/ 1497671 w 1497671"/>
              <a:gd name="connsiteY2" fmla="*/ 0 h 775348"/>
              <a:gd name="connsiteX3" fmla="*/ 1486823 w 1497671"/>
              <a:gd name="connsiteY3" fmla="*/ 772682 h 775348"/>
              <a:gd name="connsiteX4" fmla="*/ 28715 w 1497671"/>
              <a:gd name="connsiteY4" fmla="*/ 775295 h 775348"/>
              <a:gd name="connsiteX5" fmla="*/ 28535 w 1497671"/>
              <a:gd name="connsiteY5" fmla="*/ 316122 h 775348"/>
              <a:gd name="connsiteX0" fmla="*/ 28535 w 1497671"/>
              <a:gd name="connsiteY0" fmla="*/ 316122 h 775348"/>
              <a:gd name="connsiteX1" fmla="*/ 414341 w 1497671"/>
              <a:gd name="connsiteY1" fmla="*/ 1508 h 775348"/>
              <a:gd name="connsiteX2" fmla="*/ 1497671 w 1497671"/>
              <a:gd name="connsiteY2" fmla="*/ 0 h 775348"/>
              <a:gd name="connsiteX3" fmla="*/ 1486823 w 1497671"/>
              <a:gd name="connsiteY3" fmla="*/ 772682 h 775348"/>
              <a:gd name="connsiteX4" fmla="*/ 28715 w 1497671"/>
              <a:gd name="connsiteY4" fmla="*/ 775295 h 775348"/>
              <a:gd name="connsiteX5" fmla="*/ 28535 w 1497671"/>
              <a:gd name="connsiteY5" fmla="*/ 316122 h 775348"/>
              <a:gd name="connsiteX0" fmla="*/ 1444 w 1470580"/>
              <a:gd name="connsiteY0" fmla="*/ 316122 h 775333"/>
              <a:gd name="connsiteX1" fmla="*/ 387250 w 1470580"/>
              <a:gd name="connsiteY1" fmla="*/ 1508 h 775333"/>
              <a:gd name="connsiteX2" fmla="*/ 1470580 w 1470580"/>
              <a:gd name="connsiteY2" fmla="*/ 0 h 775333"/>
              <a:gd name="connsiteX3" fmla="*/ 1459732 w 1470580"/>
              <a:gd name="connsiteY3" fmla="*/ 772682 h 775333"/>
              <a:gd name="connsiteX4" fmla="*/ 1624 w 1470580"/>
              <a:gd name="connsiteY4" fmla="*/ 775295 h 775333"/>
              <a:gd name="connsiteX5" fmla="*/ 1444 w 1470580"/>
              <a:gd name="connsiteY5" fmla="*/ 316122 h 775333"/>
              <a:gd name="connsiteX0" fmla="*/ 25 w 1469161"/>
              <a:gd name="connsiteY0" fmla="*/ 316122 h 775333"/>
              <a:gd name="connsiteX1" fmla="*/ 385831 w 1469161"/>
              <a:gd name="connsiteY1" fmla="*/ 1508 h 775333"/>
              <a:gd name="connsiteX2" fmla="*/ 1469161 w 1469161"/>
              <a:gd name="connsiteY2" fmla="*/ 0 h 775333"/>
              <a:gd name="connsiteX3" fmla="*/ 1458313 w 1469161"/>
              <a:gd name="connsiteY3" fmla="*/ 772682 h 775333"/>
              <a:gd name="connsiteX4" fmla="*/ 205 w 1469161"/>
              <a:gd name="connsiteY4" fmla="*/ 775295 h 775333"/>
              <a:gd name="connsiteX5" fmla="*/ 25 w 1469161"/>
              <a:gd name="connsiteY5" fmla="*/ 316122 h 775333"/>
              <a:gd name="connsiteX0" fmla="*/ 25 w 1469161"/>
              <a:gd name="connsiteY0" fmla="*/ 316122 h 778397"/>
              <a:gd name="connsiteX1" fmla="*/ 385831 w 1469161"/>
              <a:gd name="connsiteY1" fmla="*/ 1508 h 778397"/>
              <a:gd name="connsiteX2" fmla="*/ 1469161 w 1469161"/>
              <a:gd name="connsiteY2" fmla="*/ 0 h 778397"/>
              <a:gd name="connsiteX3" fmla="*/ 1465933 w 1469161"/>
              <a:gd name="connsiteY3" fmla="*/ 778397 h 778397"/>
              <a:gd name="connsiteX4" fmla="*/ 205 w 1469161"/>
              <a:gd name="connsiteY4" fmla="*/ 775295 h 778397"/>
              <a:gd name="connsiteX5" fmla="*/ 25 w 1469161"/>
              <a:gd name="connsiteY5" fmla="*/ 316122 h 778397"/>
              <a:gd name="connsiteX0" fmla="*/ 25 w 1475458"/>
              <a:gd name="connsiteY0" fmla="*/ 316122 h 780302"/>
              <a:gd name="connsiteX1" fmla="*/ 385831 w 1475458"/>
              <a:gd name="connsiteY1" fmla="*/ 1508 h 780302"/>
              <a:gd name="connsiteX2" fmla="*/ 1469161 w 1475458"/>
              <a:gd name="connsiteY2" fmla="*/ 0 h 780302"/>
              <a:gd name="connsiteX3" fmla="*/ 1475458 w 1475458"/>
              <a:gd name="connsiteY3" fmla="*/ 780302 h 780302"/>
              <a:gd name="connsiteX4" fmla="*/ 205 w 1475458"/>
              <a:gd name="connsiteY4" fmla="*/ 775295 h 780302"/>
              <a:gd name="connsiteX5" fmla="*/ 25 w 1475458"/>
              <a:gd name="connsiteY5" fmla="*/ 316122 h 780302"/>
              <a:gd name="connsiteX0" fmla="*/ 25 w 1478686"/>
              <a:gd name="connsiteY0" fmla="*/ 314614 h 778794"/>
              <a:gd name="connsiteX1" fmla="*/ 385831 w 1478686"/>
              <a:gd name="connsiteY1" fmla="*/ 0 h 778794"/>
              <a:gd name="connsiteX2" fmla="*/ 1478686 w 1478686"/>
              <a:gd name="connsiteY2" fmla="*/ 4207 h 778794"/>
              <a:gd name="connsiteX3" fmla="*/ 1475458 w 1478686"/>
              <a:gd name="connsiteY3" fmla="*/ 778794 h 778794"/>
              <a:gd name="connsiteX4" fmla="*/ 205 w 1478686"/>
              <a:gd name="connsiteY4" fmla="*/ 773787 h 778794"/>
              <a:gd name="connsiteX5" fmla="*/ 25 w 1478686"/>
              <a:gd name="connsiteY5" fmla="*/ 314614 h 778794"/>
              <a:gd name="connsiteX0" fmla="*/ 25 w 1475458"/>
              <a:gd name="connsiteY0" fmla="*/ 316122 h 780302"/>
              <a:gd name="connsiteX1" fmla="*/ 385831 w 1475458"/>
              <a:gd name="connsiteY1" fmla="*/ 1508 h 780302"/>
              <a:gd name="connsiteX2" fmla="*/ 1474876 w 1475458"/>
              <a:gd name="connsiteY2" fmla="*/ 0 h 780302"/>
              <a:gd name="connsiteX3" fmla="*/ 1475458 w 1475458"/>
              <a:gd name="connsiteY3" fmla="*/ 780302 h 780302"/>
              <a:gd name="connsiteX4" fmla="*/ 205 w 1475458"/>
              <a:gd name="connsiteY4" fmla="*/ 775295 h 780302"/>
              <a:gd name="connsiteX5" fmla="*/ 25 w 1475458"/>
              <a:gd name="connsiteY5" fmla="*/ 316122 h 780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5458" h="780302">
                <a:moveTo>
                  <a:pt x="25" y="316122"/>
                </a:moveTo>
                <a:cubicBezTo>
                  <a:pt x="2958" y="185335"/>
                  <a:pt x="15553" y="9346"/>
                  <a:pt x="385831" y="1508"/>
                </a:cubicBezTo>
                <a:lnTo>
                  <a:pt x="1474876" y="0"/>
                </a:lnTo>
                <a:lnTo>
                  <a:pt x="1475458" y="780302"/>
                </a:lnTo>
                <a:lnTo>
                  <a:pt x="205" y="775295"/>
                </a:lnTo>
                <a:cubicBezTo>
                  <a:pt x="126" y="780192"/>
                  <a:pt x="-68" y="320258"/>
                  <a:pt x="25" y="316122"/>
                </a:cubicBezTo>
                <a:close/>
              </a:path>
            </a:pathLst>
          </a:custGeom>
          <a:solidFill>
            <a:srgbClr val="F2F3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aphicFrame>
        <p:nvGraphicFramePr>
          <p:cNvPr id="4" name="Object 3" hidden="1">
            <a:extLst>
              <a:ext uri="{FF2B5EF4-FFF2-40B4-BE49-F238E27FC236}">
                <a16:creationId xmlns:a16="http://schemas.microsoft.com/office/drawing/2014/main" id="{5684D555-DD3D-4E98-93AD-0B3BEEA6E057}"/>
              </a:ext>
            </a:extLst>
          </p:cNvPr>
          <p:cNvGraphicFramePr>
            <a:graphicFrameLocks noChangeAspect="1"/>
          </p:cNvGraphicFramePr>
          <p:nvPr userDrawn="1">
            <p:custDataLst>
              <p:tags r:id="rId11"/>
            </p:custDataLst>
            <p:extLst>
              <p:ext uri="{D42A27DB-BD31-4B8C-83A1-F6EECF244321}">
                <p14:modId xmlns:p14="http://schemas.microsoft.com/office/powerpoint/2010/main" val="3550270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98" imgH="499" progId="TCLayout.ActiveDocument.1">
                  <p:embed/>
                </p:oleObj>
              </mc:Choice>
              <mc:Fallback>
                <p:oleObj name="think-cell Slide" r:id="rId13" imgW="498" imgH="499" progId="TCLayout.ActiveDocument.1">
                  <p:embed/>
                  <p:pic>
                    <p:nvPicPr>
                      <p:cNvPr id="4" name="Object 3" hidden="1">
                        <a:extLst>
                          <a:ext uri="{FF2B5EF4-FFF2-40B4-BE49-F238E27FC236}">
                            <a16:creationId xmlns:a16="http://schemas.microsoft.com/office/drawing/2014/main" id="{5684D555-DD3D-4E98-93AD-0B3BEEA6E057}"/>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1371599" y="285751"/>
            <a:ext cx="8410575" cy="468883"/>
          </a:xfrm>
          <a:prstGeom prst="rect">
            <a:avLst/>
          </a:prstGeom>
        </p:spPr>
        <p:txBody>
          <a:bodyPr vert="horz" lIns="91440" tIns="45720" rIns="91440" bIns="45720" rtlCol="0" anchor="t">
            <a:normAutofit/>
          </a:bodyPr>
          <a:lstStyle/>
          <a:p>
            <a:r>
              <a:rPr lang="nl-NL"/>
              <a:t>Titel hoofdstuk</a:t>
            </a:r>
          </a:p>
        </p:txBody>
      </p:sp>
      <p:sp>
        <p:nvSpPr>
          <p:cNvPr id="3" name="Text Placeholder 2"/>
          <p:cNvSpPr>
            <a:spLocks noGrp="1"/>
          </p:cNvSpPr>
          <p:nvPr>
            <p:ph type="body" idx="1"/>
          </p:nvPr>
        </p:nvSpPr>
        <p:spPr>
          <a:xfrm>
            <a:off x="1371600" y="1304925"/>
            <a:ext cx="10485438" cy="5003800"/>
          </a:xfrm>
          <a:prstGeom prst="rect">
            <a:avLst/>
          </a:prstGeom>
        </p:spPr>
        <p:txBody>
          <a:bodyPr vert="horz" lIns="91440" tIns="45720" rIns="91440" bIns="45720" rtlCol="0">
            <a:normAutofit/>
          </a:bodyPr>
          <a:lstStyle/>
          <a:p>
            <a:pPr lvl="0"/>
            <a:r>
              <a:rPr lang="nl-NL"/>
              <a:t>Klikken om de tekststijl van het model te bewerken</a:t>
            </a:r>
          </a:p>
          <a:p>
            <a:pPr lvl="2"/>
            <a:r>
              <a:rPr lang="nl-NL"/>
              <a:t>Tweede niveau</a:t>
            </a:r>
          </a:p>
          <a:p>
            <a:pPr lvl="3"/>
            <a:r>
              <a:rPr lang="nl-NL"/>
              <a:t>Derde niveau</a:t>
            </a:r>
          </a:p>
          <a:p>
            <a:pPr lvl="4"/>
            <a:r>
              <a:rPr lang="nl-NL"/>
              <a:t>Vierde niveau</a:t>
            </a:r>
          </a:p>
        </p:txBody>
      </p:sp>
      <p:sp>
        <p:nvSpPr>
          <p:cNvPr id="6" name="Slide Number Placeholder 5"/>
          <p:cNvSpPr>
            <a:spLocks noGrp="1"/>
          </p:cNvSpPr>
          <p:nvPr>
            <p:ph type="sldNum" sz="quarter" idx="4"/>
          </p:nvPr>
        </p:nvSpPr>
        <p:spPr>
          <a:xfrm>
            <a:off x="11201400" y="6301844"/>
            <a:ext cx="520172" cy="404614"/>
          </a:xfrm>
          <a:prstGeom prst="rect">
            <a:avLst/>
          </a:prstGeom>
        </p:spPr>
        <p:txBody>
          <a:bodyPr vert="horz" lIns="91440" tIns="45720" rIns="91440" bIns="45720" rtlCol="0" anchor="ctr"/>
          <a:lstStyle>
            <a:lvl1pPr algn="ctr">
              <a:defRPr sz="1200" baseline="0">
                <a:solidFill>
                  <a:srgbClr val="1D5886"/>
                </a:solidFill>
                <a:latin typeface="Barlow Medium" panose="00000600000000000000" pitchFamily="2" charset="0"/>
              </a:defRPr>
            </a:lvl1pPr>
          </a:lstStyle>
          <a:p>
            <a:fld id="{69E57DC2-970A-4B3E-BB1C-7A09969E49DF}" type="slidenum">
              <a:rPr lang="nl-NL" smtClean="0"/>
              <a:pPr/>
              <a:t>‹#›</a:t>
            </a:fld>
            <a:endParaRPr lang="nl-NL"/>
          </a:p>
        </p:txBody>
      </p:sp>
      <p:sp>
        <p:nvSpPr>
          <p:cNvPr id="7" name="Rectangle 6">
            <a:extLst>
              <a:ext uri="{FF2B5EF4-FFF2-40B4-BE49-F238E27FC236}">
                <a16:creationId xmlns:a16="http://schemas.microsoft.com/office/drawing/2014/main" id="{243DA03E-B921-4067-87CC-4382606E6028}"/>
              </a:ext>
            </a:extLst>
          </p:cNvPr>
          <p:cNvSpPr/>
          <p:nvPr userDrawn="1"/>
        </p:nvSpPr>
        <p:spPr>
          <a:xfrm>
            <a:off x="1868147" y="2247990"/>
            <a:ext cx="9492343" cy="31176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0000">
              <a:solidFill>
                <a:schemeClr val="bg1">
                  <a:lumMod val="85000"/>
                </a:schemeClr>
              </a:solidFill>
            </a:endParaRPr>
          </a:p>
        </p:txBody>
      </p:sp>
      <p:sp>
        <p:nvSpPr>
          <p:cNvPr id="16" name="Title Placeholder 1">
            <a:extLst>
              <a:ext uri="{FF2B5EF4-FFF2-40B4-BE49-F238E27FC236}">
                <a16:creationId xmlns:a16="http://schemas.microsoft.com/office/drawing/2014/main" id="{E9A5FB59-254C-99A3-A4D3-2CCD2E26CB2F}"/>
              </a:ext>
            </a:extLst>
          </p:cNvPr>
          <p:cNvSpPr txBox="1">
            <a:spLocks/>
          </p:cNvSpPr>
          <p:nvPr userDrawn="1"/>
        </p:nvSpPr>
        <p:spPr>
          <a:xfrm>
            <a:off x="4089400" y="336552"/>
            <a:ext cx="254000" cy="468883"/>
          </a:xfrm>
          <a:prstGeom prst="rect">
            <a:avLst/>
          </a:prstGeom>
        </p:spPr>
        <p:txBody>
          <a:bodyPr vert="horz" lIns="91440" tIns="45720" rIns="91440" bIns="45720" rtlCol="0" anchor="t">
            <a:normAutofit lnSpcReduction="10000"/>
          </a:bodyPr>
          <a:lstStyle>
            <a:lvl1pPr algn="l" defTabSz="914400" rtl="0" eaLnBrk="1" latinLnBrk="0" hangingPunct="1">
              <a:lnSpc>
                <a:spcPct val="89000"/>
              </a:lnSpc>
              <a:spcBef>
                <a:spcPct val="0"/>
              </a:spcBef>
              <a:buNone/>
              <a:defRPr sz="2800" kern="1200" baseline="0">
                <a:solidFill>
                  <a:schemeClr val="accent4"/>
                </a:solidFill>
                <a:latin typeface="Barlow Medium" panose="00000600000000000000" pitchFamily="2" charset="0"/>
                <a:ea typeface="+mj-ea"/>
                <a:cs typeface="+mj-cs"/>
              </a:defRPr>
            </a:lvl1pPr>
          </a:lstStyle>
          <a:p>
            <a:r>
              <a:rPr lang="nl-NL">
                <a:solidFill>
                  <a:srgbClr val="3AB7E9"/>
                </a:solidFill>
              </a:rPr>
              <a:t> </a:t>
            </a:r>
          </a:p>
        </p:txBody>
      </p:sp>
      <p:cxnSp>
        <p:nvCxnSpPr>
          <p:cNvPr id="25" name="Rechte verbindingslijn 24">
            <a:extLst>
              <a:ext uri="{FF2B5EF4-FFF2-40B4-BE49-F238E27FC236}">
                <a16:creationId xmlns:a16="http://schemas.microsoft.com/office/drawing/2014/main" id="{D35011F3-2C49-A615-D3F5-6C24FCDE3AA0}"/>
              </a:ext>
            </a:extLst>
          </p:cNvPr>
          <p:cNvCxnSpPr/>
          <p:nvPr userDrawn="1"/>
        </p:nvCxnSpPr>
        <p:spPr>
          <a:xfrm>
            <a:off x="11201400" y="6382512"/>
            <a:ext cx="500307" cy="0"/>
          </a:xfrm>
          <a:prstGeom prst="line">
            <a:avLst/>
          </a:prstGeom>
          <a:ln w="9525">
            <a:solidFill>
              <a:srgbClr val="65B2E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3334146"/>
      </p:ext>
    </p:extLst>
  </p:cSld>
  <p:clrMap bg1="lt1" tx1="dk1" bg2="lt2" tx2="dk2" accent1="accent1" accent2="accent2" accent3="accent3" accent4="accent4" accent5="accent5" accent6="accent6" hlink="hlink" folHlink="folHlink"/>
  <p:sldLayoutIdLst>
    <p:sldLayoutId id="2147483668" r:id="rId1"/>
    <p:sldLayoutId id="2147483664" r:id="rId2"/>
    <p:sldLayoutId id="2147483667" r:id="rId3"/>
    <p:sldLayoutId id="2147483669" r:id="rId4"/>
    <p:sldLayoutId id="2147483670" r:id="rId5"/>
    <p:sldLayoutId id="2147483672" r:id="rId6"/>
    <p:sldLayoutId id="2147483673" r:id="rId7"/>
    <p:sldLayoutId id="2147483674" r:id="rId8"/>
    <p:sldLayoutId id="2147483675" r:id="rId9"/>
  </p:sldLayoutIdLst>
  <p:hf hdr="0" ftr="0" dt="0"/>
  <p:txStyles>
    <p:titleStyle>
      <a:lvl1pPr algn="l" defTabSz="914400" rtl="0" eaLnBrk="1" latinLnBrk="0" hangingPunct="1">
        <a:lnSpc>
          <a:spcPct val="89000"/>
        </a:lnSpc>
        <a:spcBef>
          <a:spcPct val="0"/>
        </a:spcBef>
        <a:buNone/>
        <a:defRPr sz="2800" kern="1200" baseline="0">
          <a:solidFill>
            <a:srgbClr val="1D5886"/>
          </a:solidFill>
          <a:latin typeface="Barlow Medium" panose="00000600000000000000" pitchFamily="2" charset="0"/>
          <a:ea typeface="+mj-ea"/>
          <a:cs typeface="+mj-cs"/>
        </a:defRPr>
      </a:lvl1pPr>
    </p:titleStyle>
    <p:bodyStyle>
      <a:lvl1pPr marL="342900" indent="-342900" algn="l" defTabSz="914400" rtl="0" eaLnBrk="1" latinLnBrk="0" hangingPunct="1">
        <a:lnSpc>
          <a:spcPct val="94000"/>
        </a:lnSpc>
        <a:spcBef>
          <a:spcPts val="1000"/>
        </a:spcBef>
        <a:spcAft>
          <a:spcPts val="200"/>
        </a:spcAft>
        <a:buClr>
          <a:srgbClr val="A2C7E2"/>
        </a:buClr>
        <a:buSzPct val="80000"/>
        <a:buFont typeface="Wingdings" panose="05000000000000000000" pitchFamily="2" charset="2"/>
        <a:buChar char="§"/>
        <a:defRPr sz="1800" kern="1200" baseline="0">
          <a:solidFill>
            <a:srgbClr val="1D5886"/>
          </a:solidFill>
          <a:latin typeface="Barlow Medium" panose="00000600000000000000" pitchFamily="2" charset="0"/>
          <a:ea typeface="+mn-ea"/>
          <a:cs typeface="+mn-cs"/>
        </a:defRPr>
      </a:lvl1pPr>
      <a:lvl2pPr marL="355600" indent="-355600" algn="l" defTabSz="914400" rtl="0" eaLnBrk="1" latinLnBrk="0" hangingPunct="1">
        <a:lnSpc>
          <a:spcPct val="94000"/>
        </a:lnSpc>
        <a:spcBef>
          <a:spcPts val="500"/>
        </a:spcBef>
        <a:spcAft>
          <a:spcPts val="200"/>
        </a:spcAft>
        <a:buClr>
          <a:srgbClr val="A2C7E2"/>
        </a:buClr>
        <a:buSzPct val="80000"/>
        <a:buFont typeface="Wingdings" panose="05000000000000000000" pitchFamily="2" charset="2"/>
        <a:buChar char="§"/>
        <a:defRPr sz="2000" i="1" kern="1200" baseline="0">
          <a:solidFill>
            <a:srgbClr val="1D5886"/>
          </a:solidFill>
          <a:latin typeface="Barlow" panose="00000500000000000000" pitchFamily="2" charset="0"/>
          <a:ea typeface="+mn-ea"/>
          <a:cs typeface="+mn-cs"/>
        </a:defRPr>
      </a:lvl2pPr>
      <a:lvl3pPr marL="1076325" indent="-361950" algn="l" defTabSz="914400" rtl="0" eaLnBrk="1" latinLnBrk="0" hangingPunct="1">
        <a:lnSpc>
          <a:spcPct val="94000"/>
        </a:lnSpc>
        <a:spcBef>
          <a:spcPts val="500"/>
        </a:spcBef>
        <a:spcAft>
          <a:spcPts val="200"/>
        </a:spcAft>
        <a:buClr>
          <a:srgbClr val="A2C7E2"/>
        </a:buClr>
        <a:buSzPct val="80000"/>
        <a:buFont typeface="Wingdings" panose="05000000000000000000" pitchFamily="2" charset="2"/>
        <a:buChar char="§"/>
        <a:defRPr sz="1800" kern="1200" baseline="0">
          <a:solidFill>
            <a:srgbClr val="1D5886"/>
          </a:solidFill>
          <a:latin typeface="Barlow" panose="00000500000000000000" pitchFamily="2" charset="0"/>
          <a:ea typeface="+mn-ea"/>
          <a:cs typeface="+mn-cs"/>
        </a:defRPr>
      </a:lvl3pPr>
      <a:lvl4pPr marL="1828800" indent="-384048" algn="l" defTabSz="914400" rtl="0" eaLnBrk="1" latinLnBrk="0" hangingPunct="1">
        <a:lnSpc>
          <a:spcPct val="94000"/>
        </a:lnSpc>
        <a:spcBef>
          <a:spcPts val="500"/>
        </a:spcBef>
        <a:spcAft>
          <a:spcPts val="200"/>
        </a:spcAft>
        <a:buClr>
          <a:srgbClr val="A2C7E2"/>
        </a:buClr>
        <a:buSzPct val="80000"/>
        <a:buFont typeface="Wingdings" panose="05000000000000000000" pitchFamily="2" charset="2"/>
        <a:buChar char="§"/>
        <a:defRPr sz="1600" i="1" kern="1200" baseline="0">
          <a:solidFill>
            <a:srgbClr val="1D5886"/>
          </a:solidFill>
          <a:latin typeface="Barlow" panose="00000500000000000000" pitchFamily="2" charset="0"/>
          <a:ea typeface="+mn-ea"/>
          <a:cs typeface="+mn-cs"/>
        </a:defRPr>
      </a:lvl4pPr>
      <a:lvl5pPr marL="2514600" indent="-361950" algn="l" defTabSz="914400" rtl="0" eaLnBrk="1" latinLnBrk="0" hangingPunct="1">
        <a:lnSpc>
          <a:spcPct val="94000"/>
        </a:lnSpc>
        <a:spcBef>
          <a:spcPts val="500"/>
        </a:spcBef>
        <a:spcAft>
          <a:spcPts val="200"/>
        </a:spcAft>
        <a:buClr>
          <a:srgbClr val="A2C7E2"/>
        </a:buClr>
        <a:buSzPct val="80000"/>
        <a:buFont typeface="Wingdings" panose="05000000000000000000" pitchFamily="2" charset="2"/>
        <a:buChar char="§"/>
        <a:defRPr sz="1600" kern="1200" baseline="0">
          <a:solidFill>
            <a:srgbClr val="1D5886"/>
          </a:solidFill>
          <a:latin typeface="Barlow" panose="00000500000000000000" pitchFamily="2" charset="0"/>
          <a:ea typeface="+mn-ea"/>
          <a:cs typeface="+mn-cs"/>
        </a:defRPr>
      </a:lvl5pPr>
      <a:lvl6pPr marL="27432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i="1" kern="1200" baseline="0">
          <a:solidFill>
            <a:schemeClr val="tx2"/>
          </a:solidFill>
          <a:latin typeface="+mn-lt"/>
          <a:ea typeface="+mn-ea"/>
          <a:cs typeface="+mn-cs"/>
        </a:defRPr>
      </a:lvl6pPr>
      <a:lvl7pPr marL="3200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7pPr>
      <a:lvl8pPr marL="3657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i="1" kern="1200" baseline="0">
          <a:solidFill>
            <a:schemeClr val="tx2"/>
          </a:solidFill>
          <a:latin typeface="+mn-lt"/>
          <a:ea typeface="+mn-ea"/>
          <a:cs typeface="+mn-cs"/>
        </a:defRPr>
      </a:lvl8pPr>
      <a:lvl9pPr marL="4114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 orient="horz" pos="731">
          <p15:clr>
            <a:srgbClr val="F26B43"/>
          </p15:clr>
        </p15:guide>
        <p15:guide id="6" orient="horz" pos="4065">
          <p15:clr>
            <a:srgbClr val="F26B43"/>
          </p15:clr>
        </p15:guide>
        <p15:guide id="7" orient="horz" pos="164">
          <p15:clr>
            <a:srgbClr val="F26B43"/>
          </p15:clr>
        </p15:guide>
        <p15:guide id="9" pos="7469">
          <p15:clr>
            <a:srgbClr val="F26B43"/>
          </p15:clr>
        </p15:guide>
        <p15:guide id="11" pos="864">
          <p15:clr>
            <a:srgbClr val="F26B43"/>
          </p15:clr>
        </p15:guide>
        <p15:guide id="12" orient="horz" pos="82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3" Type="http://schemas.openxmlformats.org/officeDocument/2006/relationships/hyperlink" Target="http://www.kindzoektbed.com/" TargetMode="External"/><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image" Target="../media/image79.jpeg"/></Relationships>
</file>

<file path=ppt/slides/_rels/slide12.xml.rels><?xml version="1.0" encoding="UTF-8" standalone="yes"?>
<Relationships xmlns="http://schemas.openxmlformats.org/package/2006/relationships"><Relationship Id="rId8" Type="http://schemas.openxmlformats.org/officeDocument/2006/relationships/image" Target="../media/image85.svg"/><Relationship Id="rId3" Type="http://schemas.openxmlformats.org/officeDocument/2006/relationships/image" Target="../media/image80.png"/><Relationship Id="rId7" Type="http://schemas.openxmlformats.org/officeDocument/2006/relationships/image" Target="../media/image84.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83.svg"/><Relationship Id="rId5" Type="http://schemas.openxmlformats.org/officeDocument/2006/relationships/image" Target="../media/image82.png"/><Relationship Id="rId4" Type="http://schemas.openxmlformats.org/officeDocument/2006/relationships/image" Target="../media/image81.sv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image" Target="../media/image89.svg"/><Relationship Id="rId5" Type="http://schemas.openxmlformats.org/officeDocument/2006/relationships/image" Target="../media/image88.png"/><Relationship Id="rId4" Type="http://schemas.openxmlformats.org/officeDocument/2006/relationships/image" Target="../media/image87.svg"/></Relationships>
</file>

<file path=ppt/slides/_rels/slide15.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hyperlink" Target="https://www.figma.com/proto/Y1dCXyeZNowZNWejnx67fi/LPZ---Demo-Kindergeneeskunde-2.0?page-id=132%3A8591&amp;node-id=132-9426&amp;viewport=238%2C191%2C0.09&amp;t=JEBt7pvaHfFRomBs-1&amp;scaling=min-zoom&amp;content-scaling=fixed&amp;starting-point-node-id=132%3A9426" TargetMode="External"/><Relationship Id="rId2" Type="http://schemas.openxmlformats.org/officeDocument/2006/relationships/notesSlide" Target="../notesSlides/notesSlide12.xml"/><Relationship Id="rId1" Type="http://schemas.openxmlformats.org/officeDocument/2006/relationships/slideLayout" Target="../slideLayouts/slideLayout3.xml"/><Relationship Id="rId5" Type="http://schemas.openxmlformats.org/officeDocument/2006/relationships/image" Target="../media/image93.png"/><Relationship Id="rId4" Type="http://schemas.openxmlformats.org/officeDocument/2006/relationships/image" Target="../media/image92.png"/></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hyperlink" Target="https://lpz-support.atlassian.net/wiki/spaces/Ziekenhuis/overview" TargetMode="Externa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8" Type="http://schemas.openxmlformats.org/officeDocument/2006/relationships/image" Target="../media/image98.svg"/><Relationship Id="rId3" Type="http://schemas.openxmlformats.org/officeDocument/2006/relationships/hyperlink" Target="https://www.lpz.nu/" TargetMode="External"/><Relationship Id="rId7" Type="http://schemas.openxmlformats.org/officeDocument/2006/relationships/image" Target="../media/image97.png"/><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hyperlink" Target="mailto:v.vandebeek@lnaz.nl" TargetMode="External"/><Relationship Id="rId5" Type="http://schemas.openxmlformats.org/officeDocument/2006/relationships/hyperlink" Target="mailto:grootbruinderink@nvk.nl" TargetMode="External"/><Relationship Id="rId4" Type="http://schemas.openxmlformats.org/officeDocument/2006/relationships/hyperlink" Target="https://lpz-support.atlassian.net/wiki/x/CwDygw" TargetMode="Externa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sv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13.png"/><Relationship Id="rId11" Type="http://schemas.openxmlformats.org/officeDocument/2006/relationships/image" Target="../media/image18.svg"/><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11.svg"/><Relationship Id="rId9" Type="http://schemas.openxmlformats.org/officeDocument/2006/relationships/image" Target="../media/image16.svg"/></Relationships>
</file>

<file path=ppt/slides/_rels/slide4.xml.rels><?xml version="1.0" encoding="UTF-8" standalone="yes"?>
<Relationships xmlns="http://schemas.openxmlformats.org/package/2006/relationships"><Relationship Id="rId8" Type="http://schemas.openxmlformats.org/officeDocument/2006/relationships/image" Target="../media/image24.svg"/><Relationship Id="rId13" Type="http://schemas.openxmlformats.org/officeDocument/2006/relationships/image" Target="../media/image29.png"/><Relationship Id="rId18" Type="http://schemas.openxmlformats.org/officeDocument/2006/relationships/image" Target="../media/image34.svg"/><Relationship Id="rId3" Type="http://schemas.openxmlformats.org/officeDocument/2006/relationships/image" Target="../media/image19.png"/><Relationship Id="rId7" Type="http://schemas.openxmlformats.org/officeDocument/2006/relationships/image" Target="../media/image23.png"/><Relationship Id="rId12" Type="http://schemas.openxmlformats.org/officeDocument/2006/relationships/image" Target="../media/image28.svg"/><Relationship Id="rId17" Type="http://schemas.openxmlformats.org/officeDocument/2006/relationships/image" Target="../media/image33.png"/><Relationship Id="rId2" Type="http://schemas.openxmlformats.org/officeDocument/2006/relationships/notesSlide" Target="../notesSlides/notesSlide3.xml"/><Relationship Id="rId16" Type="http://schemas.openxmlformats.org/officeDocument/2006/relationships/image" Target="../media/image32.svg"/><Relationship Id="rId20" Type="http://schemas.openxmlformats.org/officeDocument/2006/relationships/image" Target="../media/image36.svg"/><Relationship Id="rId1" Type="http://schemas.openxmlformats.org/officeDocument/2006/relationships/slideLayout" Target="../slideLayouts/slideLayout3.xml"/><Relationship Id="rId6" Type="http://schemas.openxmlformats.org/officeDocument/2006/relationships/image" Target="../media/image22.svg"/><Relationship Id="rId11" Type="http://schemas.openxmlformats.org/officeDocument/2006/relationships/image" Target="../media/image27.png"/><Relationship Id="rId5" Type="http://schemas.openxmlformats.org/officeDocument/2006/relationships/image" Target="../media/image21.png"/><Relationship Id="rId15" Type="http://schemas.openxmlformats.org/officeDocument/2006/relationships/image" Target="../media/image31.png"/><Relationship Id="rId10" Type="http://schemas.openxmlformats.org/officeDocument/2006/relationships/image" Target="../media/image26.svg"/><Relationship Id="rId19" Type="http://schemas.openxmlformats.org/officeDocument/2006/relationships/image" Target="../media/image35.png"/><Relationship Id="rId4" Type="http://schemas.openxmlformats.org/officeDocument/2006/relationships/image" Target="../media/image20.svg"/><Relationship Id="rId9" Type="http://schemas.openxmlformats.org/officeDocument/2006/relationships/image" Target="../media/image25.png"/><Relationship Id="rId14" Type="http://schemas.openxmlformats.org/officeDocument/2006/relationships/image" Target="../media/image30.svg"/></Relationships>
</file>

<file path=ppt/slides/_rels/slide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7.xml"/><Relationship Id="rId4" Type="http://schemas.openxmlformats.org/officeDocument/2006/relationships/image" Target="../media/image39.png"/></Relationships>
</file>

<file path=ppt/slides/_rels/slide6.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png"/><Relationship Id="rId1" Type="http://schemas.openxmlformats.org/officeDocument/2006/relationships/slideLayout" Target="../slideLayouts/slideLayout7.xml"/><Relationship Id="rId5" Type="http://schemas.openxmlformats.org/officeDocument/2006/relationships/image" Target="../media/image43.jpeg"/><Relationship Id="rId4" Type="http://schemas.openxmlformats.org/officeDocument/2006/relationships/image" Target="../media/image42.png"/></Relationships>
</file>

<file path=ppt/slides/_rels/slide7.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5.png"/><Relationship Id="rId7" Type="http://schemas.openxmlformats.org/officeDocument/2006/relationships/image" Target="../media/image48.png"/><Relationship Id="rId2" Type="http://schemas.openxmlformats.org/officeDocument/2006/relationships/image" Target="../media/image44.jpeg"/><Relationship Id="rId1" Type="http://schemas.openxmlformats.org/officeDocument/2006/relationships/slideLayout" Target="../slideLayouts/slideLayout7.xml"/><Relationship Id="rId6" Type="http://schemas.openxmlformats.org/officeDocument/2006/relationships/image" Target="../media/image47.jpeg"/><Relationship Id="rId11" Type="http://schemas.openxmlformats.org/officeDocument/2006/relationships/image" Target="../media/image52.png"/><Relationship Id="rId5" Type="http://schemas.openxmlformats.org/officeDocument/2006/relationships/image" Target="../media/image8.png"/><Relationship Id="rId10" Type="http://schemas.openxmlformats.org/officeDocument/2006/relationships/image" Target="../media/image51.png"/><Relationship Id="rId4" Type="http://schemas.openxmlformats.org/officeDocument/2006/relationships/image" Target="../media/image46.png"/><Relationship Id="rId9" Type="http://schemas.openxmlformats.org/officeDocument/2006/relationships/image" Target="../media/image50.jpeg"/></Relationships>
</file>

<file path=ppt/slides/_rels/slide8.xml.rels><?xml version="1.0" encoding="UTF-8" standalone="yes"?>
<Relationships xmlns="http://schemas.openxmlformats.org/package/2006/relationships"><Relationship Id="rId8" Type="http://schemas.openxmlformats.org/officeDocument/2006/relationships/image" Target="../media/image58.svg"/><Relationship Id="rId13" Type="http://schemas.openxmlformats.org/officeDocument/2006/relationships/image" Target="../media/image23.png"/><Relationship Id="rId18" Type="http://schemas.openxmlformats.org/officeDocument/2006/relationships/image" Target="../media/image66.svg"/><Relationship Id="rId26" Type="http://schemas.openxmlformats.org/officeDocument/2006/relationships/image" Target="../media/image74.svg"/><Relationship Id="rId3" Type="http://schemas.openxmlformats.org/officeDocument/2006/relationships/image" Target="../media/image53.png"/><Relationship Id="rId21" Type="http://schemas.openxmlformats.org/officeDocument/2006/relationships/image" Target="../media/image69.png"/><Relationship Id="rId7" Type="http://schemas.openxmlformats.org/officeDocument/2006/relationships/image" Target="../media/image57.png"/><Relationship Id="rId12" Type="http://schemas.openxmlformats.org/officeDocument/2006/relationships/image" Target="../media/image62.svg"/><Relationship Id="rId17" Type="http://schemas.openxmlformats.org/officeDocument/2006/relationships/image" Target="../media/image65.png"/><Relationship Id="rId25" Type="http://schemas.openxmlformats.org/officeDocument/2006/relationships/image" Target="../media/image73.png"/><Relationship Id="rId2" Type="http://schemas.openxmlformats.org/officeDocument/2006/relationships/notesSlide" Target="../notesSlides/notesSlide4.xml"/><Relationship Id="rId16" Type="http://schemas.openxmlformats.org/officeDocument/2006/relationships/image" Target="../media/image64.svg"/><Relationship Id="rId20" Type="http://schemas.openxmlformats.org/officeDocument/2006/relationships/image" Target="../media/image68.svg"/><Relationship Id="rId1" Type="http://schemas.openxmlformats.org/officeDocument/2006/relationships/slideLayout" Target="../slideLayouts/slideLayout9.xml"/><Relationship Id="rId6" Type="http://schemas.openxmlformats.org/officeDocument/2006/relationships/image" Target="../media/image56.svg"/><Relationship Id="rId11" Type="http://schemas.openxmlformats.org/officeDocument/2006/relationships/image" Target="../media/image61.png"/><Relationship Id="rId24" Type="http://schemas.openxmlformats.org/officeDocument/2006/relationships/image" Target="../media/image72.svg"/><Relationship Id="rId5" Type="http://schemas.openxmlformats.org/officeDocument/2006/relationships/image" Target="../media/image55.png"/><Relationship Id="rId15" Type="http://schemas.openxmlformats.org/officeDocument/2006/relationships/image" Target="../media/image63.png"/><Relationship Id="rId23" Type="http://schemas.openxmlformats.org/officeDocument/2006/relationships/image" Target="../media/image71.png"/><Relationship Id="rId28" Type="http://schemas.openxmlformats.org/officeDocument/2006/relationships/image" Target="../media/image76.svg"/><Relationship Id="rId10" Type="http://schemas.openxmlformats.org/officeDocument/2006/relationships/image" Target="../media/image60.svg"/><Relationship Id="rId19" Type="http://schemas.openxmlformats.org/officeDocument/2006/relationships/image" Target="../media/image67.png"/><Relationship Id="rId4" Type="http://schemas.openxmlformats.org/officeDocument/2006/relationships/image" Target="../media/image54.svg"/><Relationship Id="rId9" Type="http://schemas.openxmlformats.org/officeDocument/2006/relationships/image" Target="../media/image59.png"/><Relationship Id="rId14" Type="http://schemas.openxmlformats.org/officeDocument/2006/relationships/image" Target="../media/image24.svg"/><Relationship Id="rId22" Type="http://schemas.openxmlformats.org/officeDocument/2006/relationships/image" Target="../media/image70.svg"/><Relationship Id="rId27" Type="http://schemas.openxmlformats.org/officeDocument/2006/relationships/image" Target="../media/image75.png"/></Relationships>
</file>

<file path=ppt/slides/_rels/slide9.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ndertitel 1">
            <a:extLst>
              <a:ext uri="{FF2B5EF4-FFF2-40B4-BE49-F238E27FC236}">
                <a16:creationId xmlns:a16="http://schemas.microsoft.com/office/drawing/2014/main" id="{34C2D06F-632C-4348-5F5A-413CB657F529}"/>
              </a:ext>
            </a:extLst>
          </p:cNvPr>
          <p:cNvSpPr>
            <a:spLocks noGrp="1"/>
          </p:cNvSpPr>
          <p:nvPr>
            <p:ph type="subTitle" idx="1"/>
          </p:nvPr>
        </p:nvSpPr>
        <p:spPr/>
        <p:txBody>
          <a:bodyPr/>
          <a:lstStyle/>
          <a:p>
            <a:r>
              <a:rPr lang="nl-NL"/>
              <a:t>Inzicht in capaciteit</a:t>
            </a:r>
          </a:p>
        </p:txBody>
      </p:sp>
      <p:sp>
        <p:nvSpPr>
          <p:cNvPr id="3" name="Tijdelijke aanduiding voor tekst 2">
            <a:extLst>
              <a:ext uri="{FF2B5EF4-FFF2-40B4-BE49-F238E27FC236}">
                <a16:creationId xmlns:a16="http://schemas.microsoft.com/office/drawing/2014/main" id="{DE778ED8-A826-55C8-D120-3AE882DA3CEA}"/>
              </a:ext>
            </a:extLst>
          </p:cNvPr>
          <p:cNvSpPr>
            <a:spLocks noGrp="1"/>
          </p:cNvSpPr>
          <p:nvPr>
            <p:ph type="body" sz="quarter" idx="10"/>
          </p:nvPr>
        </p:nvSpPr>
        <p:spPr/>
        <p:txBody>
          <a:bodyPr/>
          <a:lstStyle/>
          <a:p>
            <a:r>
              <a:rPr lang="nl-NL"/>
              <a:t>Kindergeneeskunde en neonatologie LPZ</a:t>
            </a:r>
          </a:p>
        </p:txBody>
      </p:sp>
      <p:pic>
        <p:nvPicPr>
          <p:cNvPr id="13" name="Picture 4" descr="Over het Landelijk Netwerk Acute Zorg (LNAZ) - Landelijk Netwerk Acute Zorg  (LNAZ) — AcademicTransfer">
            <a:extLst>
              <a:ext uri="{FF2B5EF4-FFF2-40B4-BE49-F238E27FC236}">
                <a16:creationId xmlns:a16="http://schemas.microsoft.com/office/drawing/2014/main" id="{90B3C866-A4BE-2EF3-BEA6-8E0A1C1E658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 t="10650" r="-368"/>
          <a:stretch/>
        </p:blipFill>
        <p:spPr bwMode="auto">
          <a:xfrm>
            <a:off x="8280400" y="5923539"/>
            <a:ext cx="3174999" cy="934461"/>
          </a:xfrm>
          <a:prstGeom prst="rect">
            <a:avLst/>
          </a:prstGeom>
          <a:noFill/>
          <a:extLst>
            <a:ext uri="{909E8E84-426E-40DD-AFC4-6F175D3DCCD1}">
              <a14:hiddenFill xmlns:a14="http://schemas.microsoft.com/office/drawing/2010/main">
                <a:solidFill>
                  <a:srgbClr val="FFFFFF"/>
                </a:solidFill>
              </a14:hiddenFill>
            </a:ext>
          </a:extLst>
        </p:spPr>
      </p:pic>
      <p:pic>
        <p:nvPicPr>
          <p:cNvPr id="5" name="Afbeelding 4" descr="Afbeelding met tekst, Lettertype, Graphics, water&#10;&#10;Door AI gegenereerde inhoud is mogelijk onjuist.">
            <a:extLst>
              <a:ext uri="{FF2B5EF4-FFF2-40B4-BE49-F238E27FC236}">
                <a16:creationId xmlns:a16="http://schemas.microsoft.com/office/drawing/2014/main" id="{E8A4876B-8BDF-0F52-FC90-42DFA7E57A7E}"/>
              </a:ext>
            </a:extLst>
          </p:cNvPr>
          <p:cNvPicPr>
            <a:picLocks noChangeAspect="1"/>
          </p:cNvPicPr>
          <p:nvPr/>
        </p:nvPicPr>
        <p:blipFill>
          <a:blip r:embed="rId4"/>
          <a:stretch>
            <a:fillRect/>
          </a:stretch>
        </p:blipFill>
        <p:spPr>
          <a:xfrm>
            <a:off x="354108" y="5923539"/>
            <a:ext cx="3557493" cy="690572"/>
          </a:xfrm>
          <a:prstGeom prst="rect">
            <a:avLst/>
          </a:prstGeom>
        </p:spPr>
      </p:pic>
    </p:spTree>
    <p:extLst>
      <p:ext uri="{BB962C8B-B14F-4D97-AF65-F5344CB8AC3E}">
        <p14:creationId xmlns:p14="http://schemas.microsoft.com/office/powerpoint/2010/main" val="18205334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AE528FC1-BEBB-8577-69E5-BEEDEB41D650}"/>
              </a:ext>
            </a:extLst>
          </p:cNvPr>
          <p:cNvSpPr>
            <a:spLocks noGrp="1"/>
          </p:cNvSpPr>
          <p:nvPr>
            <p:ph type="title"/>
          </p:nvPr>
        </p:nvSpPr>
        <p:spPr/>
        <p:txBody>
          <a:bodyPr>
            <a:normAutofit fontScale="90000"/>
          </a:bodyPr>
          <a:lstStyle/>
          <a:p>
            <a:r>
              <a:rPr lang="nl-NL"/>
              <a:t>Ontwikkeling | Inzicht in beschikbare capaciteit voor patiënten &lt; 18 jaar</a:t>
            </a:r>
          </a:p>
        </p:txBody>
      </p:sp>
      <p:sp>
        <p:nvSpPr>
          <p:cNvPr id="6" name="Tijdelijke aanduiding voor inhoud 2">
            <a:extLst>
              <a:ext uri="{FF2B5EF4-FFF2-40B4-BE49-F238E27FC236}">
                <a16:creationId xmlns:a16="http://schemas.microsoft.com/office/drawing/2014/main" id="{D360B52E-2FC9-CAF8-70E2-CA2EC2A78B43}"/>
              </a:ext>
            </a:extLst>
          </p:cNvPr>
          <p:cNvSpPr>
            <a:spLocks noGrp="1"/>
          </p:cNvSpPr>
          <p:nvPr>
            <p:ph idx="1"/>
          </p:nvPr>
        </p:nvSpPr>
        <p:spPr>
          <a:xfrm>
            <a:off x="1371600" y="1304924"/>
            <a:ext cx="9946257" cy="5000985"/>
          </a:xfrm>
        </p:spPr>
        <p:txBody>
          <a:bodyPr>
            <a:normAutofit lnSpcReduction="10000"/>
          </a:bodyPr>
          <a:lstStyle/>
          <a:p>
            <a:pPr marL="342900" lvl="1" indent="-342900">
              <a:lnSpc>
                <a:spcPct val="104000"/>
              </a:lnSpc>
              <a:spcBef>
                <a:spcPts val="1000"/>
              </a:spcBef>
            </a:pPr>
            <a:r>
              <a:rPr lang="nl-NL" sz="1800" i="0">
                <a:latin typeface="Barlow Medium" panose="00000600000000000000" pitchFamily="2" charset="0"/>
              </a:rPr>
              <a:t>Enkele jaren geleden startte de Nederlandse Vereniging voor Kindergeneeskunde (NVK) met:</a:t>
            </a:r>
          </a:p>
          <a:p>
            <a:pPr marL="1200150" lvl="2" indent="-285750" defTabSz="277246">
              <a:buFont typeface="Arial" panose="020B0604020202020204" pitchFamily="34" charset="0"/>
              <a:buChar char="•"/>
            </a:pPr>
            <a:r>
              <a:rPr lang="nl-NL" sz="1400" kern="100" err="1">
                <a:solidFill>
                  <a:schemeClr val="tx2"/>
                </a:solidFill>
                <a:latin typeface="Aptos" panose="020B0004020202020204" pitchFamily="34" charset="0"/>
                <a:ea typeface="Calibri" panose="020F0502020204030204" pitchFamily="34" charset="0"/>
                <a:cs typeface="Arial" panose="020B0604020202020204" pitchFamily="34" charset="0"/>
              </a:rPr>
              <a:t>www.babyzoektbed.com</a:t>
            </a:r>
            <a:r>
              <a:rPr lang="nl-NL" sz="1400" kern="100">
                <a:solidFill>
                  <a:schemeClr val="tx2"/>
                </a:solidFill>
                <a:latin typeface="Aptos" panose="020B0004020202020204" pitchFamily="34" charset="0"/>
                <a:ea typeface="Calibri" panose="020F0502020204030204" pitchFamily="34" charset="0"/>
                <a:cs typeface="Arial" panose="020B0604020202020204" pitchFamily="34" charset="0"/>
              </a:rPr>
              <a:t> </a:t>
            </a:r>
          </a:p>
          <a:p>
            <a:pPr marL="1200150" lvl="2" indent="-285750" defTabSz="277246">
              <a:buFont typeface="Arial" panose="020B0604020202020204" pitchFamily="34" charset="0"/>
              <a:buChar char="•"/>
            </a:pPr>
            <a:r>
              <a:rPr lang="nl-NL" sz="1400" kern="100" err="1">
                <a:solidFill>
                  <a:schemeClr val="tx2"/>
                </a:solidFill>
                <a:latin typeface="Aptos" panose="020B0004020202020204" pitchFamily="34" charset="0"/>
                <a:ea typeface="Calibri" panose="020F0502020204030204" pitchFamily="34" charset="0"/>
                <a:cs typeface="Arial" panose="020B0604020202020204" pitchFamily="34" charset="0"/>
              </a:rPr>
              <a:t>www.ickindzoektbed.com</a:t>
            </a:r>
            <a:endParaRPr lang="nl-NL" sz="1400" kern="100">
              <a:solidFill>
                <a:schemeClr val="tx2"/>
              </a:solidFill>
              <a:latin typeface="Aptos" panose="020B0004020202020204" pitchFamily="34" charset="0"/>
              <a:ea typeface="Calibri" panose="020F0502020204030204" pitchFamily="34" charset="0"/>
              <a:cs typeface="Arial" panose="020B0604020202020204" pitchFamily="34" charset="0"/>
            </a:endParaRPr>
          </a:p>
          <a:p>
            <a:pPr marL="1200150" lvl="2" indent="-285750" defTabSz="277246">
              <a:buFont typeface="Arial" panose="020B0604020202020204" pitchFamily="34" charset="0"/>
              <a:buChar char="•"/>
            </a:pPr>
            <a:r>
              <a:rPr lang="nl-NL" sz="1400" u="sng" kern="100">
                <a:solidFill>
                  <a:schemeClr val="tx2"/>
                </a:solidFill>
                <a:latin typeface="Aptos" panose="020B0004020202020204" pitchFamily="34" charset="0"/>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www.kindzoektbed.com</a:t>
            </a:r>
            <a:r>
              <a:rPr lang="nl-NL" sz="1400" kern="100">
                <a:solidFill>
                  <a:schemeClr val="tx2"/>
                </a:solidFill>
                <a:latin typeface="Aptos" panose="020B0004020202020204" pitchFamily="34" charset="0"/>
                <a:ea typeface="Calibri" panose="020F0502020204030204" pitchFamily="34" charset="0"/>
                <a:cs typeface="Arial" panose="020B0604020202020204" pitchFamily="34" charset="0"/>
              </a:rPr>
              <a:t> </a:t>
            </a:r>
          </a:p>
          <a:p>
            <a:pPr marL="742950" lvl="1" indent="-285750" defTabSz="277246">
              <a:buFont typeface="Arial" panose="020B0604020202020204" pitchFamily="34" charset="0"/>
              <a:buChar char="•"/>
            </a:pPr>
            <a:endParaRPr lang="nl-NL" sz="800" kern="100">
              <a:latin typeface="Aptos" panose="020B0004020202020204" pitchFamily="34" charset="0"/>
              <a:ea typeface="Calibri" panose="020F0502020204030204" pitchFamily="34" charset="0"/>
              <a:cs typeface="Arial" panose="020B0604020202020204" pitchFamily="34" charset="0"/>
            </a:endParaRPr>
          </a:p>
          <a:p>
            <a:pPr marL="342900" lvl="1" indent="-342900">
              <a:lnSpc>
                <a:spcPct val="104000"/>
              </a:lnSpc>
              <a:spcBef>
                <a:spcPts val="1000"/>
              </a:spcBef>
            </a:pPr>
            <a:r>
              <a:rPr lang="nl-NL" sz="1800" i="0">
                <a:latin typeface="Barlow Medium" panose="00000600000000000000" pitchFamily="2" charset="0"/>
              </a:rPr>
              <a:t>Hiermee is inzichtelijk waar en hoeveel bedden er in de Nederlandse ziekenhuizen beschikbaar zijn voor kinderen. Een kinderarts die zelf geen plek heeft voor een patiënt kan zo makkelijk schakelen met andere centra die aangeven wel plek te hebben.</a:t>
            </a:r>
          </a:p>
          <a:p>
            <a:pPr marL="342900" lvl="1" indent="-342900">
              <a:lnSpc>
                <a:spcPct val="104000"/>
              </a:lnSpc>
              <a:spcBef>
                <a:spcPts val="1000"/>
              </a:spcBef>
            </a:pPr>
            <a:r>
              <a:rPr lang="nl-NL" sz="1800" i="0">
                <a:latin typeface="Barlow Medium" panose="00000600000000000000" pitchFamily="2" charset="0"/>
              </a:rPr>
              <a:t>Maar… registratie gebeurt </a:t>
            </a:r>
            <a:r>
              <a:rPr lang="nl-NL" sz="1800" b="1" i="0">
                <a:latin typeface="Barlow Medium" panose="00000600000000000000" pitchFamily="2" charset="0"/>
              </a:rPr>
              <a:t>handmatig</a:t>
            </a:r>
            <a:r>
              <a:rPr lang="nl-NL" sz="1800" i="0">
                <a:latin typeface="Barlow Medium" panose="00000600000000000000" pitchFamily="2" charset="0"/>
              </a:rPr>
              <a:t> </a:t>
            </a:r>
            <a:r>
              <a:rPr lang="nl-NL" sz="1800" i="0">
                <a:latin typeface="Barlow Medium" panose="00000600000000000000" pitchFamily="2" charset="0"/>
                <a:sym typeface="Wingdings" panose="05000000000000000000" pitchFamily="2" charset="2"/>
              </a:rPr>
              <a:t> kwetsbaar systeem, arbeidsintensief en vaak beperkt actueel.</a:t>
            </a:r>
          </a:p>
          <a:p>
            <a:pPr marL="342900" lvl="1" indent="-342900">
              <a:lnSpc>
                <a:spcPct val="104000"/>
              </a:lnSpc>
              <a:spcBef>
                <a:spcPts val="1000"/>
              </a:spcBef>
            </a:pPr>
            <a:r>
              <a:rPr lang="nl-NL" sz="1800" i="0">
                <a:latin typeface="Barlow Medium" panose="00000600000000000000" pitchFamily="2" charset="0"/>
              </a:rPr>
              <a:t>Het Landelijk Netwerk Acute Zorg (LNAZ) heeft in 2020 de opdracht van het ministerie van VWS gekregen om de beschikbare actuele beddencapaciteit van de Nederlandse ziekenhuizen inzichtelijk te maken voor ziekenhuizen en ketenpartners door middel van het Landelijk Platform Zorgcoördinatie (LPZ).</a:t>
            </a:r>
          </a:p>
          <a:p>
            <a:pPr marL="342900" lvl="1" indent="-342900">
              <a:lnSpc>
                <a:spcPct val="104000"/>
              </a:lnSpc>
              <a:spcBef>
                <a:spcPts val="1000"/>
              </a:spcBef>
            </a:pPr>
            <a:r>
              <a:rPr lang="nl-NL" sz="1800" i="0">
                <a:latin typeface="Barlow Medium" panose="00000600000000000000" pitchFamily="2" charset="0"/>
              </a:rPr>
              <a:t>De NVK heeft dan ook in afstemming met betrokkenen in 2023 besloten om het LPZ gefaseerd te gaan implementeren voor de kindergeneeskunde.</a:t>
            </a:r>
          </a:p>
          <a:p>
            <a:pPr marL="342900" lvl="1" indent="-342900">
              <a:lnSpc>
                <a:spcPct val="104000"/>
              </a:lnSpc>
              <a:spcBef>
                <a:spcPts val="1000"/>
              </a:spcBef>
            </a:pPr>
            <a:endParaRPr lang="nl-NL" sz="1800" i="0">
              <a:latin typeface="Barlow Medium" panose="00000600000000000000" pitchFamily="2" charset="0"/>
            </a:endParaRPr>
          </a:p>
          <a:p>
            <a:pPr marL="342900" lvl="1" indent="-342900">
              <a:lnSpc>
                <a:spcPct val="104000"/>
              </a:lnSpc>
              <a:spcBef>
                <a:spcPts val="1000"/>
              </a:spcBef>
            </a:pPr>
            <a:endParaRPr lang="nl-NL" sz="1800" i="0">
              <a:latin typeface="Barlow Medium" panose="00000600000000000000" pitchFamily="2" charset="0"/>
            </a:endParaRPr>
          </a:p>
          <a:p>
            <a:pPr marL="714375" lvl="2" indent="0">
              <a:buNone/>
            </a:pPr>
            <a:endParaRPr lang="nl-NL"/>
          </a:p>
        </p:txBody>
      </p:sp>
    </p:spTree>
    <p:extLst>
      <p:ext uri="{BB962C8B-B14F-4D97-AF65-F5344CB8AC3E}">
        <p14:creationId xmlns:p14="http://schemas.microsoft.com/office/powerpoint/2010/main" val="6385237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jdelijke aanduiding voor inhoud 2">
            <a:extLst>
              <a:ext uri="{FF2B5EF4-FFF2-40B4-BE49-F238E27FC236}">
                <a16:creationId xmlns:a16="http://schemas.microsoft.com/office/drawing/2014/main" id="{82B39638-DC9D-DF14-5770-8CE19F79448F}"/>
              </a:ext>
            </a:extLst>
          </p:cNvPr>
          <p:cNvSpPr>
            <a:spLocks noGrp="1"/>
          </p:cNvSpPr>
          <p:nvPr>
            <p:ph idx="1"/>
          </p:nvPr>
        </p:nvSpPr>
        <p:spPr>
          <a:xfrm>
            <a:off x="1371600" y="1304924"/>
            <a:ext cx="10349972" cy="5000985"/>
          </a:xfrm>
        </p:spPr>
        <p:txBody>
          <a:bodyPr>
            <a:normAutofit lnSpcReduction="10000"/>
          </a:bodyPr>
          <a:lstStyle/>
          <a:p>
            <a:pPr marL="285750" indent="-285750">
              <a:buFont typeface="Arial" panose="020B0604020202020204" pitchFamily="34" charset="0"/>
              <a:buChar char="•"/>
            </a:pPr>
            <a:r>
              <a:rPr lang="nl-NL" b="1" kern="100">
                <a:latin typeface="Barlow" pitchFamily="2" charset="77"/>
                <a:ea typeface="Calibri" panose="020F0502020204030204" pitchFamily="34" charset="0"/>
                <a:cs typeface="Arial" panose="020B0604020202020204" pitchFamily="34" charset="0"/>
              </a:rPr>
              <a:t>Fase I</a:t>
            </a:r>
            <a:r>
              <a:rPr lang="nl-NL" kern="100">
                <a:latin typeface="Barlow" pitchFamily="2" charset="77"/>
                <a:ea typeface="Calibri" panose="020F0502020204030204" pitchFamily="34" charset="0"/>
                <a:cs typeface="Arial" panose="020B0604020202020204" pitchFamily="34" charset="0"/>
              </a:rPr>
              <a:t>: de NICU-capaciteit is via LPZ inzichtelijk in de 9 NICU-centra in Nederland  (per 18 maart 2024 gerealiseerd)*.</a:t>
            </a:r>
          </a:p>
          <a:p>
            <a:pPr marL="285750" indent="-285750">
              <a:buFont typeface="Arial" panose="020B0604020202020204" pitchFamily="34" charset="0"/>
              <a:buChar char="•"/>
            </a:pPr>
            <a:endParaRPr lang="nl-NL" kern="100">
              <a:latin typeface="Barlow" pitchFamily="2" charset="77"/>
              <a:ea typeface="Calibri" panose="020F0502020204030204" pitchFamily="34" charset="0"/>
              <a:cs typeface="Arial" panose="020B0604020202020204" pitchFamily="34" charset="0"/>
            </a:endParaRPr>
          </a:p>
          <a:p>
            <a:pPr marL="285750" indent="-285750">
              <a:buFont typeface="Arial" panose="020B0604020202020204" pitchFamily="34" charset="0"/>
              <a:buChar char="•"/>
            </a:pPr>
            <a:r>
              <a:rPr lang="nl-NL" b="1" kern="100">
                <a:latin typeface="Barlow" pitchFamily="2" charset="77"/>
                <a:ea typeface="Calibri" panose="020F0502020204030204" pitchFamily="34" charset="0"/>
                <a:cs typeface="Arial" panose="020B0604020202020204" pitchFamily="34" charset="0"/>
              </a:rPr>
              <a:t>Fase II</a:t>
            </a:r>
            <a:r>
              <a:rPr lang="nl-NL" kern="100">
                <a:latin typeface="Barlow" pitchFamily="2" charset="77"/>
                <a:ea typeface="Calibri" panose="020F0502020204030204" pitchFamily="34" charset="0"/>
                <a:cs typeface="Arial" panose="020B0604020202020204" pitchFamily="34" charset="0"/>
              </a:rPr>
              <a:t>: de PICU-capaciteit is via LPZ inzichtelijk in de 7 PICU-centra in Nederland  (per 16 september 2024 gerealiseerd)*.</a:t>
            </a:r>
          </a:p>
          <a:p>
            <a:endParaRPr lang="nl-NL" kern="100">
              <a:latin typeface="Barlow" pitchFamily="2" charset="77"/>
              <a:ea typeface="Calibri" panose="020F0502020204030204" pitchFamily="34" charset="0"/>
              <a:cs typeface="Arial" panose="020B0604020202020204" pitchFamily="34" charset="0"/>
            </a:endParaRPr>
          </a:p>
          <a:p>
            <a:pPr marL="285750" indent="-285750">
              <a:buFont typeface="Arial" panose="020B0604020202020204" pitchFamily="34" charset="0"/>
              <a:buChar char="•"/>
            </a:pPr>
            <a:endParaRPr lang="nl-NL" i="1" kern="100">
              <a:latin typeface="Barlow" pitchFamily="2" charset="77"/>
              <a:ea typeface="Calibri" panose="020F0502020204030204" pitchFamily="34" charset="0"/>
              <a:cs typeface="Arial" panose="020B0604020202020204" pitchFamily="34" charset="0"/>
            </a:endParaRPr>
          </a:p>
          <a:p>
            <a:pPr marL="285750" indent="-285750">
              <a:buFont typeface="Arial" panose="020B0604020202020204" pitchFamily="34" charset="0"/>
              <a:buChar char="•"/>
            </a:pPr>
            <a:endParaRPr lang="nl-NL" i="1" kern="100">
              <a:latin typeface="Barlow" pitchFamily="2" charset="77"/>
              <a:ea typeface="Calibri" panose="020F0502020204030204" pitchFamily="34" charset="0"/>
              <a:cs typeface="Arial" panose="020B0604020202020204" pitchFamily="34" charset="0"/>
            </a:endParaRPr>
          </a:p>
          <a:p>
            <a:endParaRPr lang="nl-NL" kern="100">
              <a:highlight>
                <a:srgbClr val="DBEEF4"/>
              </a:highlight>
              <a:latin typeface="Barlow" pitchFamily="2" charset="77"/>
              <a:ea typeface="Calibri" panose="020F0502020204030204" pitchFamily="34" charset="0"/>
              <a:cs typeface="Arial" panose="020B0604020202020204" pitchFamily="34" charset="0"/>
            </a:endParaRPr>
          </a:p>
          <a:p>
            <a:pPr marL="285750" indent="-285750">
              <a:buFont typeface="Arial" panose="020B0604020202020204" pitchFamily="34" charset="0"/>
              <a:buChar char="•"/>
            </a:pPr>
            <a:r>
              <a:rPr lang="nl-NL" b="1" kern="100">
                <a:latin typeface="Barlow" pitchFamily="2" charset="77"/>
                <a:ea typeface="Calibri" panose="020F0502020204030204" pitchFamily="34" charset="0"/>
                <a:cs typeface="Arial" panose="020B0604020202020204" pitchFamily="34" charset="0"/>
              </a:rPr>
              <a:t>Fase III: het realiseren van inzicht in beschikbare capaciteit via het LPZ op alle afdelingen in de Nederlandse ziekenhuizen voor patiënten onder de 18 jaar (huidige traject).</a:t>
            </a:r>
          </a:p>
          <a:p>
            <a:pPr marL="285750" indent="-285750">
              <a:buFont typeface="Arial" panose="020B0604020202020204" pitchFamily="34" charset="0"/>
              <a:buChar char="•"/>
            </a:pPr>
            <a:endParaRPr lang="nl-NL" sz="1800">
              <a:latin typeface="Barlow Medium" panose="00000600000000000000" pitchFamily="2" charset="0"/>
            </a:endParaRPr>
          </a:p>
          <a:p>
            <a:pPr marL="0" lvl="1" indent="0">
              <a:lnSpc>
                <a:spcPct val="104000"/>
              </a:lnSpc>
              <a:spcBef>
                <a:spcPts val="1000"/>
              </a:spcBef>
              <a:buNone/>
            </a:pPr>
            <a:r>
              <a:rPr lang="nl-NL" sz="1800">
                <a:latin typeface="Barlow Medium" panose="00000600000000000000" pitchFamily="2" charset="0"/>
              </a:rPr>
              <a:t>*</a:t>
            </a:r>
            <a:r>
              <a:rPr lang="nl-NL" sz="1800" i="1">
                <a:latin typeface="Barlow Medium" panose="00000600000000000000" pitchFamily="2" charset="0"/>
              </a:rPr>
              <a:t>De NICU-en PICU-capaciteit wordt in ieder geval gedeeld met alle NICU- en PICU–centra. Voor hen is het inzicht dan ook met name relevant omdat zij ook de coördinatie in de regio doen voor deze patiënten. </a:t>
            </a:r>
          </a:p>
        </p:txBody>
      </p:sp>
      <p:sp>
        <p:nvSpPr>
          <p:cNvPr id="2" name="Tijdelijke aanduiding voor dianummer 1">
            <a:extLst>
              <a:ext uri="{FF2B5EF4-FFF2-40B4-BE49-F238E27FC236}">
                <a16:creationId xmlns:a16="http://schemas.microsoft.com/office/drawing/2014/main" id="{BB3BD2D0-D9C7-8584-9526-61D7442A78DE}"/>
              </a:ext>
            </a:extLst>
          </p:cNvPr>
          <p:cNvSpPr>
            <a:spLocks noGrp="1"/>
          </p:cNvSpPr>
          <p:nvPr>
            <p:ph type="sldNum" sz="quarter" idx="12"/>
          </p:nvPr>
        </p:nvSpPr>
        <p:spPr/>
        <p:txBody>
          <a:bodyPr/>
          <a:lstStyle/>
          <a:p>
            <a:fld id="{69E57DC2-970A-4B3E-BB1C-7A09969E49DF}" type="slidenum">
              <a:rPr lang="nl-NL" smtClean="0"/>
              <a:t>11</a:t>
            </a:fld>
            <a:endParaRPr lang="nl-NL"/>
          </a:p>
        </p:txBody>
      </p:sp>
      <p:pic>
        <p:nvPicPr>
          <p:cNvPr id="5" name="Picture 2" descr="LPZ NICU dashboard is live!">
            <a:extLst>
              <a:ext uri="{FF2B5EF4-FFF2-40B4-BE49-F238E27FC236}">
                <a16:creationId xmlns:a16="http://schemas.microsoft.com/office/drawing/2014/main" id="{CB1BA874-1465-00D7-AC7A-8597DA597E4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749" r="1867" b="5188"/>
          <a:stretch/>
        </p:blipFill>
        <p:spPr bwMode="auto">
          <a:xfrm>
            <a:off x="4167930" y="2804389"/>
            <a:ext cx="1408956" cy="1571952"/>
          </a:xfrm>
          <a:prstGeom prst="rect">
            <a:avLst/>
          </a:prstGeom>
          <a:noFill/>
          <a:extLst>
            <a:ext uri="{909E8E84-426E-40DD-AFC4-6F175D3DCCD1}">
              <a14:hiddenFill xmlns:a14="http://schemas.microsoft.com/office/drawing/2010/main">
                <a:solidFill>
                  <a:srgbClr val="FFFFFF"/>
                </a:solidFill>
              </a14:hiddenFill>
            </a:ext>
          </a:extLst>
        </p:spPr>
      </p:pic>
      <p:pic>
        <p:nvPicPr>
          <p:cNvPr id="6" name="5AA37BCF-0750-428F-8294-78FBDE076BA4" descr="IMG_2695.jpg">
            <a:extLst>
              <a:ext uri="{FF2B5EF4-FFF2-40B4-BE49-F238E27FC236}">
                <a16:creationId xmlns:a16="http://schemas.microsoft.com/office/drawing/2014/main" id="{7A4119B8-91F4-5D5E-F9D9-F628C1B0F0F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3257" r="5580" b="13310"/>
          <a:stretch/>
        </p:blipFill>
        <p:spPr bwMode="auto">
          <a:xfrm>
            <a:off x="5689446" y="2804389"/>
            <a:ext cx="1491784" cy="15469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el 3">
            <a:extLst>
              <a:ext uri="{FF2B5EF4-FFF2-40B4-BE49-F238E27FC236}">
                <a16:creationId xmlns:a16="http://schemas.microsoft.com/office/drawing/2014/main" id="{35EC962D-110E-71C9-ECF2-1C29AA671BAD}"/>
              </a:ext>
            </a:extLst>
          </p:cNvPr>
          <p:cNvSpPr>
            <a:spLocks noGrp="1"/>
          </p:cNvSpPr>
          <p:nvPr>
            <p:ph type="title"/>
          </p:nvPr>
        </p:nvSpPr>
        <p:spPr/>
        <p:txBody>
          <a:bodyPr>
            <a:normAutofit/>
          </a:bodyPr>
          <a:lstStyle/>
          <a:p>
            <a:r>
              <a:rPr lang="nl-NL" sz="2500">
                <a:solidFill>
                  <a:schemeClr val="tx2"/>
                </a:solidFill>
              </a:rPr>
              <a:t>Ontwikkeling | LPZ en de kindergeneeskunde</a:t>
            </a:r>
          </a:p>
        </p:txBody>
      </p:sp>
    </p:spTree>
    <p:extLst>
      <p:ext uri="{BB962C8B-B14F-4D97-AF65-F5344CB8AC3E}">
        <p14:creationId xmlns:p14="http://schemas.microsoft.com/office/powerpoint/2010/main" val="24473585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15ECFFBC-D9AD-DD70-BBC5-3E39E1CD8EA1}"/>
              </a:ext>
            </a:extLst>
          </p:cNvPr>
          <p:cNvSpPr>
            <a:spLocks noGrp="1"/>
          </p:cNvSpPr>
          <p:nvPr>
            <p:ph type="sldNum" sz="quarter" idx="12"/>
          </p:nvPr>
        </p:nvSpPr>
        <p:spPr/>
        <p:txBody>
          <a:bodyPr/>
          <a:lstStyle/>
          <a:p>
            <a:fld id="{69E57DC2-970A-4B3E-BB1C-7A09969E49DF}" type="slidenum">
              <a:rPr lang="nl-NL" smtClean="0"/>
              <a:t>12</a:t>
            </a:fld>
            <a:endParaRPr lang="nl-NL"/>
          </a:p>
        </p:txBody>
      </p:sp>
      <p:sp>
        <p:nvSpPr>
          <p:cNvPr id="4" name="Titel 3">
            <a:extLst>
              <a:ext uri="{FF2B5EF4-FFF2-40B4-BE49-F238E27FC236}">
                <a16:creationId xmlns:a16="http://schemas.microsoft.com/office/drawing/2014/main" id="{B02BF19C-2B4E-6B54-0536-9B4ACE5167C4}"/>
              </a:ext>
            </a:extLst>
          </p:cNvPr>
          <p:cNvSpPr>
            <a:spLocks noGrp="1"/>
          </p:cNvSpPr>
          <p:nvPr>
            <p:ph type="title"/>
          </p:nvPr>
        </p:nvSpPr>
        <p:spPr/>
        <p:txBody>
          <a:bodyPr>
            <a:normAutofit fontScale="90000"/>
          </a:bodyPr>
          <a:lstStyle/>
          <a:p>
            <a:r>
              <a:rPr lang="nl-NL"/>
              <a:t>Ontwikkeling | Waarom LPZ?</a:t>
            </a:r>
          </a:p>
        </p:txBody>
      </p:sp>
      <p:sp>
        <p:nvSpPr>
          <p:cNvPr id="12" name="Rechthoek: afgeronde hoeken 11">
            <a:extLst>
              <a:ext uri="{FF2B5EF4-FFF2-40B4-BE49-F238E27FC236}">
                <a16:creationId xmlns:a16="http://schemas.microsoft.com/office/drawing/2014/main" id="{46B5A1F1-0943-14C6-A567-CEC3DB81246B}"/>
              </a:ext>
            </a:extLst>
          </p:cNvPr>
          <p:cNvSpPr/>
          <p:nvPr/>
        </p:nvSpPr>
        <p:spPr>
          <a:xfrm>
            <a:off x="633318" y="1314450"/>
            <a:ext cx="3131858" cy="4154021"/>
          </a:xfrm>
          <a:prstGeom prst="roundRect">
            <a:avLst/>
          </a:prstGeom>
          <a:solidFill>
            <a:srgbClr val="F8FA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sz="2400">
              <a:solidFill>
                <a:srgbClr val="1D5886"/>
              </a:solidFill>
              <a:latin typeface="Barlow" panose="00000500000000000000" pitchFamily="2" charset="0"/>
            </a:endParaRPr>
          </a:p>
          <a:p>
            <a:endParaRPr lang="nl-NL" sz="2400">
              <a:solidFill>
                <a:srgbClr val="1D5886"/>
              </a:solidFill>
              <a:latin typeface="Barlow" panose="00000500000000000000" pitchFamily="2" charset="0"/>
            </a:endParaRPr>
          </a:p>
          <a:p>
            <a:endParaRPr lang="nl-NL" sz="2400">
              <a:solidFill>
                <a:srgbClr val="1D5886"/>
              </a:solidFill>
              <a:latin typeface="Barlow" panose="00000500000000000000" pitchFamily="2" charset="0"/>
            </a:endParaRPr>
          </a:p>
          <a:p>
            <a:r>
              <a:rPr lang="nl-NL">
                <a:solidFill>
                  <a:srgbClr val="1D5886"/>
                </a:solidFill>
                <a:latin typeface="Barlow" panose="00000500000000000000" pitchFamily="2" charset="0"/>
              </a:rPr>
              <a:t>Regio overstijgend capaciteitsinzicht</a:t>
            </a:r>
          </a:p>
          <a:p>
            <a:endParaRPr lang="nl-NL">
              <a:solidFill>
                <a:srgbClr val="1D5886"/>
              </a:solidFill>
              <a:latin typeface="Barlow" panose="00000500000000000000" pitchFamily="2" charset="0"/>
            </a:endParaRPr>
          </a:p>
          <a:p>
            <a:r>
              <a:rPr lang="nl-NL">
                <a:solidFill>
                  <a:srgbClr val="1D5886"/>
                </a:solidFill>
                <a:latin typeface="Barlow" panose="00000500000000000000" pitchFamily="2" charset="0"/>
              </a:rPr>
              <a:t>Inzicht in capaciteit is niet een </a:t>
            </a:r>
            <a:r>
              <a:rPr lang="nl-NL" i="1">
                <a:solidFill>
                  <a:srgbClr val="1D5886"/>
                </a:solidFill>
                <a:latin typeface="Barlow" panose="00000500000000000000" pitchFamily="2" charset="0"/>
              </a:rPr>
              <a:t>doel</a:t>
            </a:r>
            <a:r>
              <a:rPr lang="nl-NL">
                <a:solidFill>
                  <a:srgbClr val="1D5886"/>
                </a:solidFill>
                <a:latin typeface="Barlow" panose="00000500000000000000" pitchFamily="2" charset="0"/>
              </a:rPr>
              <a:t> op zich, maar een </a:t>
            </a:r>
            <a:r>
              <a:rPr lang="nl-NL" i="1">
                <a:solidFill>
                  <a:srgbClr val="1D5886"/>
                </a:solidFill>
                <a:latin typeface="Barlow" panose="00000500000000000000" pitchFamily="2" charset="0"/>
              </a:rPr>
              <a:t>middel</a:t>
            </a:r>
            <a:r>
              <a:rPr lang="nl-NL">
                <a:solidFill>
                  <a:srgbClr val="1D5886"/>
                </a:solidFill>
                <a:latin typeface="Barlow" panose="00000500000000000000" pitchFamily="2" charset="0"/>
              </a:rPr>
              <a:t> om te komen tot de </a:t>
            </a:r>
            <a:r>
              <a:rPr lang="nl-NL" b="1">
                <a:solidFill>
                  <a:srgbClr val="1D5886"/>
                </a:solidFill>
                <a:latin typeface="Barlow" panose="00000500000000000000" pitchFamily="2" charset="0"/>
              </a:rPr>
              <a:t>juiste zorg</a:t>
            </a:r>
            <a:r>
              <a:rPr lang="nl-NL">
                <a:solidFill>
                  <a:srgbClr val="1D5886"/>
                </a:solidFill>
                <a:latin typeface="Barlow" panose="00000500000000000000" pitchFamily="2" charset="0"/>
              </a:rPr>
              <a:t> op de </a:t>
            </a:r>
            <a:r>
              <a:rPr lang="nl-NL" b="1">
                <a:solidFill>
                  <a:srgbClr val="1D5886"/>
                </a:solidFill>
                <a:latin typeface="Barlow" panose="00000500000000000000" pitchFamily="2" charset="0"/>
              </a:rPr>
              <a:t>juiste plek </a:t>
            </a:r>
            <a:r>
              <a:rPr lang="nl-NL">
                <a:solidFill>
                  <a:srgbClr val="1D5886"/>
                </a:solidFill>
                <a:latin typeface="Barlow" panose="00000500000000000000" pitchFamily="2" charset="0"/>
              </a:rPr>
              <a:t>op het </a:t>
            </a:r>
            <a:r>
              <a:rPr lang="nl-NL" b="1">
                <a:solidFill>
                  <a:srgbClr val="1D5886"/>
                </a:solidFill>
                <a:latin typeface="Barlow" panose="00000500000000000000" pitchFamily="2" charset="0"/>
              </a:rPr>
              <a:t>juiste moment</a:t>
            </a:r>
            <a:r>
              <a:rPr lang="nl-NL">
                <a:solidFill>
                  <a:srgbClr val="1D5886"/>
                </a:solidFill>
                <a:latin typeface="Barlow" panose="00000500000000000000" pitchFamily="2" charset="0"/>
              </a:rPr>
              <a:t>.  </a:t>
            </a:r>
          </a:p>
        </p:txBody>
      </p:sp>
      <p:pic>
        <p:nvPicPr>
          <p:cNvPr id="14" name="Graphic 13" descr="Roos met effen opvulling">
            <a:extLst>
              <a:ext uri="{FF2B5EF4-FFF2-40B4-BE49-F238E27FC236}">
                <a16:creationId xmlns:a16="http://schemas.microsoft.com/office/drawing/2014/main" id="{23574BF9-517F-8E23-7AC8-D4B25E95C6B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81105" y="1537539"/>
            <a:ext cx="800195" cy="800195"/>
          </a:xfrm>
          <a:prstGeom prst="rect">
            <a:avLst/>
          </a:prstGeom>
        </p:spPr>
      </p:pic>
      <p:sp>
        <p:nvSpPr>
          <p:cNvPr id="17" name="Rechthoek: afgeronde hoeken 16">
            <a:extLst>
              <a:ext uri="{FF2B5EF4-FFF2-40B4-BE49-F238E27FC236}">
                <a16:creationId xmlns:a16="http://schemas.microsoft.com/office/drawing/2014/main" id="{33909189-6F44-1B9A-F5C0-E1CE4E90FEE9}"/>
              </a:ext>
            </a:extLst>
          </p:cNvPr>
          <p:cNvSpPr/>
          <p:nvPr/>
        </p:nvSpPr>
        <p:spPr>
          <a:xfrm>
            <a:off x="4338736" y="1314450"/>
            <a:ext cx="3131858" cy="4154021"/>
          </a:xfrm>
          <a:prstGeom prst="roundRect">
            <a:avLst/>
          </a:prstGeom>
          <a:solidFill>
            <a:srgbClr val="F8FA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sz="2400">
              <a:solidFill>
                <a:srgbClr val="1D5886"/>
              </a:solidFill>
            </a:endParaRPr>
          </a:p>
          <a:p>
            <a:endParaRPr lang="nl-NL" sz="2400">
              <a:solidFill>
                <a:srgbClr val="1D5886"/>
              </a:solidFill>
            </a:endParaRPr>
          </a:p>
          <a:p>
            <a:endParaRPr lang="nl-NL" sz="2400">
              <a:solidFill>
                <a:srgbClr val="1D5886"/>
              </a:solidFill>
            </a:endParaRPr>
          </a:p>
          <a:p>
            <a:endParaRPr lang="nl-NL" sz="2400">
              <a:solidFill>
                <a:srgbClr val="1D5886"/>
              </a:solidFill>
            </a:endParaRPr>
          </a:p>
          <a:p>
            <a:endParaRPr lang="nl-NL" sz="2400">
              <a:solidFill>
                <a:srgbClr val="1D5886"/>
              </a:solidFill>
            </a:endParaRPr>
          </a:p>
          <a:p>
            <a:endParaRPr lang="nl-NL" sz="2400">
              <a:solidFill>
                <a:srgbClr val="1D5886"/>
              </a:solidFill>
            </a:endParaRPr>
          </a:p>
          <a:p>
            <a:endParaRPr lang="nl-NL" sz="2400">
              <a:solidFill>
                <a:srgbClr val="1D5886"/>
              </a:solidFill>
            </a:endParaRPr>
          </a:p>
          <a:p>
            <a:r>
              <a:rPr lang="nl-NL">
                <a:solidFill>
                  <a:srgbClr val="1D5886"/>
                </a:solidFill>
                <a:latin typeface="Barlow" panose="00000500000000000000" pitchFamily="2" charset="0"/>
              </a:rPr>
              <a:t>Door inzicht in capaciteit ondersteunt LPZ bij:</a:t>
            </a:r>
          </a:p>
          <a:p>
            <a:pPr marL="342900" indent="-342900">
              <a:buFont typeface="Arial" panose="020B0604020202020204" pitchFamily="34" charset="0"/>
              <a:buChar char="•"/>
            </a:pPr>
            <a:r>
              <a:rPr lang="nl-NL">
                <a:solidFill>
                  <a:srgbClr val="1D5886"/>
                </a:solidFill>
                <a:latin typeface="Barlow" panose="00000500000000000000" pitchFamily="2" charset="0"/>
              </a:rPr>
              <a:t>Minder lang ‘op zoek’ </a:t>
            </a:r>
          </a:p>
          <a:p>
            <a:pPr marL="342900" indent="-342900">
              <a:buFont typeface="Arial" panose="020B0604020202020204" pitchFamily="34" charset="0"/>
              <a:buChar char="•"/>
            </a:pPr>
            <a:r>
              <a:rPr lang="nl-NL">
                <a:solidFill>
                  <a:srgbClr val="1D5886"/>
                </a:solidFill>
                <a:latin typeface="Barlow" panose="00000500000000000000" pitchFamily="2" charset="0"/>
              </a:rPr>
              <a:t>Spreiden en betere benutting schaarse capaciteit</a:t>
            </a:r>
          </a:p>
          <a:p>
            <a:pPr marL="342900" indent="-342900">
              <a:buFont typeface="Arial" panose="020B0604020202020204" pitchFamily="34" charset="0"/>
              <a:buChar char="•"/>
            </a:pPr>
            <a:r>
              <a:rPr lang="nl-NL">
                <a:solidFill>
                  <a:srgbClr val="1D5886"/>
                </a:solidFill>
                <a:latin typeface="Barlow" panose="00000500000000000000" pitchFamily="2" charset="0"/>
              </a:rPr>
              <a:t>Samenwerking</a:t>
            </a:r>
          </a:p>
          <a:p>
            <a:pPr marL="342900" indent="-342900">
              <a:buFont typeface="Arial" panose="020B0604020202020204" pitchFamily="34" charset="0"/>
              <a:buChar char="•"/>
            </a:pPr>
            <a:endParaRPr lang="nl-NL" sz="2400">
              <a:solidFill>
                <a:srgbClr val="1D5886"/>
              </a:solidFill>
              <a:latin typeface="Barlow" panose="00000500000000000000" pitchFamily="2" charset="0"/>
            </a:endParaRPr>
          </a:p>
          <a:p>
            <a:pPr marL="342900" indent="-342900">
              <a:buFont typeface="Arial" panose="020B0604020202020204" pitchFamily="34" charset="0"/>
              <a:buChar char="•"/>
            </a:pPr>
            <a:endParaRPr lang="nl-NL" sz="2400">
              <a:solidFill>
                <a:srgbClr val="1D5886"/>
              </a:solidFill>
            </a:endParaRPr>
          </a:p>
          <a:p>
            <a:pPr marL="342900" indent="-342900">
              <a:buFont typeface="Arial" panose="020B0604020202020204" pitchFamily="34" charset="0"/>
              <a:buChar char="•"/>
            </a:pPr>
            <a:endParaRPr lang="nl-NL" sz="2400">
              <a:solidFill>
                <a:srgbClr val="1D5886"/>
              </a:solidFill>
            </a:endParaRPr>
          </a:p>
          <a:p>
            <a:endParaRPr lang="nl-NL" sz="2400">
              <a:solidFill>
                <a:srgbClr val="1D5886"/>
              </a:solidFill>
            </a:endParaRPr>
          </a:p>
          <a:p>
            <a:endParaRPr lang="nl-NL" sz="2400">
              <a:solidFill>
                <a:srgbClr val="1D5886"/>
              </a:solidFill>
            </a:endParaRPr>
          </a:p>
        </p:txBody>
      </p:sp>
      <p:sp>
        <p:nvSpPr>
          <p:cNvPr id="18" name="Rechthoek: afgeronde hoeken 17">
            <a:extLst>
              <a:ext uri="{FF2B5EF4-FFF2-40B4-BE49-F238E27FC236}">
                <a16:creationId xmlns:a16="http://schemas.microsoft.com/office/drawing/2014/main" id="{CF057D4D-E730-EC09-43E6-52EAE90D903C}"/>
              </a:ext>
            </a:extLst>
          </p:cNvPr>
          <p:cNvSpPr/>
          <p:nvPr/>
        </p:nvSpPr>
        <p:spPr>
          <a:xfrm>
            <a:off x="8044154" y="1314450"/>
            <a:ext cx="3131858" cy="4154021"/>
          </a:xfrm>
          <a:prstGeom prst="roundRect">
            <a:avLst/>
          </a:prstGeom>
          <a:solidFill>
            <a:srgbClr val="F8FA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sz="2400">
              <a:solidFill>
                <a:srgbClr val="1D5886"/>
              </a:solidFill>
            </a:endParaRPr>
          </a:p>
          <a:p>
            <a:endParaRPr lang="nl-NL" sz="2400">
              <a:solidFill>
                <a:srgbClr val="1D5886"/>
              </a:solidFill>
            </a:endParaRPr>
          </a:p>
          <a:p>
            <a:endParaRPr lang="nl-NL" sz="2400">
              <a:solidFill>
                <a:srgbClr val="1D5886"/>
              </a:solidFill>
            </a:endParaRPr>
          </a:p>
          <a:p>
            <a:r>
              <a:rPr lang="nl-NL">
                <a:solidFill>
                  <a:srgbClr val="1D5886"/>
                </a:solidFill>
                <a:latin typeface="Barlow" panose="00000500000000000000" pitchFamily="2" charset="0"/>
              </a:rPr>
              <a:t>Voorwaardelijk voor succesvol gebruik zijn:</a:t>
            </a:r>
          </a:p>
          <a:p>
            <a:pPr marL="342900" indent="-342900">
              <a:buFont typeface="Arial" panose="020B0604020202020204" pitchFamily="34" charset="0"/>
              <a:buChar char="•"/>
            </a:pPr>
            <a:r>
              <a:rPr lang="nl-NL">
                <a:solidFill>
                  <a:srgbClr val="1D5886"/>
                </a:solidFill>
                <a:latin typeface="Barlow" panose="00000500000000000000" pitchFamily="2" charset="0"/>
              </a:rPr>
              <a:t>Landelijk uniforme definities</a:t>
            </a:r>
          </a:p>
          <a:p>
            <a:pPr marL="342900" indent="-342900">
              <a:buFont typeface="Arial" panose="020B0604020202020204" pitchFamily="34" charset="0"/>
              <a:buChar char="•"/>
            </a:pPr>
            <a:r>
              <a:rPr lang="nl-NL">
                <a:solidFill>
                  <a:srgbClr val="1D5886"/>
                </a:solidFill>
                <a:latin typeface="Barlow" panose="00000500000000000000" pitchFamily="2" charset="0"/>
              </a:rPr>
              <a:t>Regionale en landelijke afspraken</a:t>
            </a:r>
          </a:p>
          <a:p>
            <a:pPr marL="342900" indent="-342900">
              <a:buFont typeface="Arial" panose="020B0604020202020204" pitchFamily="34" charset="0"/>
              <a:buChar char="•"/>
            </a:pPr>
            <a:r>
              <a:rPr lang="nl-NL">
                <a:solidFill>
                  <a:srgbClr val="1D5886"/>
                </a:solidFill>
                <a:latin typeface="Barlow" panose="00000500000000000000" pitchFamily="2" charset="0"/>
              </a:rPr>
              <a:t>Consistente data-aanlevering </a:t>
            </a:r>
          </a:p>
          <a:p>
            <a:endParaRPr lang="nl-NL" sz="2400">
              <a:solidFill>
                <a:srgbClr val="1D5886"/>
              </a:solidFill>
            </a:endParaRPr>
          </a:p>
        </p:txBody>
      </p:sp>
      <p:pic>
        <p:nvPicPr>
          <p:cNvPr id="20" name="Graphic 19" descr="Cirkel met mensen met effen opvulling">
            <a:extLst>
              <a:ext uri="{FF2B5EF4-FFF2-40B4-BE49-F238E27FC236}">
                <a16:creationId xmlns:a16="http://schemas.microsoft.com/office/drawing/2014/main" id="{BEFB8CCD-6CA8-F766-449D-4873236B614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86523" y="1537539"/>
            <a:ext cx="914400" cy="914400"/>
          </a:xfrm>
          <a:prstGeom prst="rect">
            <a:avLst/>
          </a:prstGeom>
        </p:spPr>
      </p:pic>
      <p:pic>
        <p:nvPicPr>
          <p:cNvPr id="22" name="Graphic 21" descr="Badge Tick1 met effen opvulling">
            <a:extLst>
              <a:ext uri="{FF2B5EF4-FFF2-40B4-BE49-F238E27FC236}">
                <a16:creationId xmlns:a16="http://schemas.microsoft.com/office/drawing/2014/main" id="{98764064-2F01-AE74-F967-763A3AB6BB0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391941" y="1537539"/>
            <a:ext cx="818954" cy="818954"/>
          </a:xfrm>
          <a:prstGeom prst="rect">
            <a:avLst/>
          </a:prstGeom>
        </p:spPr>
      </p:pic>
    </p:spTree>
    <p:extLst>
      <p:ext uri="{BB962C8B-B14F-4D97-AF65-F5344CB8AC3E}">
        <p14:creationId xmlns:p14="http://schemas.microsoft.com/office/powerpoint/2010/main" val="40135330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50BB67-E540-E732-1A15-23E3507813D0}"/>
            </a:ext>
          </a:extLst>
        </p:cNvPr>
        <p:cNvGrpSpPr/>
        <p:nvPr/>
      </p:nvGrpSpPr>
      <p:grpSpPr>
        <a:xfrm>
          <a:off x="0" y="0"/>
          <a:ext cx="0" cy="0"/>
          <a:chOff x="0" y="0"/>
          <a:chExt cx="0" cy="0"/>
        </a:xfrm>
      </p:grpSpPr>
      <p:sp>
        <p:nvSpPr>
          <p:cNvPr id="3" name="Tijdelijke aanduiding voor inhoud 2">
            <a:extLst>
              <a:ext uri="{FF2B5EF4-FFF2-40B4-BE49-F238E27FC236}">
                <a16:creationId xmlns:a16="http://schemas.microsoft.com/office/drawing/2014/main" id="{D60F81DD-A279-591A-D95C-CD6221BADC93}"/>
              </a:ext>
            </a:extLst>
          </p:cNvPr>
          <p:cNvSpPr>
            <a:spLocks noGrp="1"/>
          </p:cNvSpPr>
          <p:nvPr>
            <p:ph idx="1"/>
          </p:nvPr>
        </p:nvSpPr>
        <p:spPr>
          <a:xfrm>
            <a:off x="1371600" y="1304924"/>
            <a:ext cx="9946257" cy="5000985"/>
          </a:xfrm>
        </p:spPr>
        <p:txBody>
          <a:bodyPr>
            <a:normAutofit/>
          </a:bodyPr>
          <a:lstStyle/>
          <a:p>
            <a:r>
              <a:rPr lang="nl-NL"/>
              <a:t>De dashboards voor kindergeneeskunde en neonatologie 1.0 zijn enkele jaren geleden ontwikkeld in de ROAZ-regio Zuidwest en inmiddels door meerdere ziekenhuizen in gebruik genomen. Voor landelijke uitrol van de dashboards 2.0 zijn de wensen herijkt en is een gezamenlijke landelijke aanpak bepaald:</a:t>
            </a:r>
          </a:p>
        </p:txBody>
      </p:sp>
      <p:sp>
        <p:nvSpPr>
          <p:cNvPr id="2" name="Tijdelijke aanduiding voor dianummer 1">
            <a:extLst>
              <a:ext uri="{FF2B5EF4-FFF2-40B4-BE49-F238E27FC236}">
                <a16:creationId xmlns:a16="http://schemas.microsoft.com/office/drawing/2014/main" id="{A17861CA-032F-5991-AB53-26A8573EDA45}"/>
              </a:ext>
            </a:extLst>
          </p:cNvPr>
          <p:cNvSpPr>
            <a:spLocks noGrp="1"/>
          </p:cNvSpPr>
          <p:nvPr>
            <p:ph type="sldNum" sz="quarter" idx="12"/>
          </p:nvPr>
        </p:nvSpPr>
        <p:spPr/>
        <p:txBody>
          <a:bodyPr/>
          <a:lstStyle/>
          <a:p>
            <a:fld id="{69E57DC2-970A-4B3E-BB1C-7A09969E49DF}" type="slidenum">
              <a:rPr lang="nl-NL" smtClean="0"/>
              <a:t>13</a:t>
            </a:fld>
            <a:endParaRPr lang="nl-NL"/>
          </a:p>
        </p:txBody>
      </p:sp>
      <p:sp>
        <p:nvSpPr>
          <p:cNvPr id="4" name="Titel 3">
            <a:extLst>
              <a:ext uri="{FF2B5EF4-FFF2-40B4-BE49-F238E27FC236}">
                <a16:creationId xmlns:a16="http://schemas.microsoft.com/office/drawing/2014/main" id="{B8AEC3C8-C74A-25E3-74FA-48688FA17F1F}"/>
              </a:ext>
            </a:extLst>
          </p:cNvPr>
          <p:cNvSpPr>
            <a:spLocks noGrp="1"/>
          </p:cNvSpPr>
          <p:nvPr>
            <p:ph type="title"/>
          </p:nvPr>
        </p:nvSpPr>
        <p:spPr/>
        <p:txBody>
          <a:bodyPr>
            <a:normAutofit fontScale="90000"/>
          </a:bodyPr>
          <a:lstStyle/>
          <a:p>
            <a:r>
              <a:rPr lang="nl-NL"/>
              <a:t>Ontwikkeling | Hoe komen de dashboards 2.0 tot stand?</a:t>
            </a:r>
          </a:p>
        </p:txBody>
      </p:sp>
      <p:sp>
        <p:nvSpPr>
          <p:cNvPr id="7" name="Rechthoek: afgeronde hoeken 6">
            <a:extLst>
              <a:ext uri="{FF2B5EF4-FFF2-40B4-BE49-F238E27FC236}">
                <a16:creationId xmlns:a16="http://schemas.microsoft.com/office/drawing/2014/main" id="{A0A4C9A1-F85C-5CAC-6F9A-07C440BCFF20}"/>
              </a:ext>
            </a:extLst>
          </p:cNvPr>
          <p:cNvSpPr/>
          <p:nvPr/>
        </p:nvSpPr>
        <p:spPr>
          <a:xfrm>
            <a:off x="4144382" y="2416591"/>
            <a:ext cx="3679744" cy="2684201"/>
          </a:xfrm>
          <a:prstGeom prst="roundRect">
            <a:avLst/>
          </a:prstGeom>
          <a:solidFill>
            <a:srgbClr val="F8FA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sz="2400">
              <a:solidFill>
                <a:srgbClr val="1D5886"/>
              </a:solidFill>
              <a:latin typeface="Barlow" panose="00000500000000000000" pitchFamily="2" charset="0"/>
            </a:endParaRPr>
          </a:p>
          <a:p>
            <a:r>
              <a:rPr lang="nl-NL" b="1">
                <a:solidFill>
                  <a:srgbClr val="1D5886"/>
                </a:solidFill>
                <a:latin typeface="Barlow" panose="00000500000000000000" pitchFamily="2" charset="0"/>
              </a:rPr>
              <a:t>Projectgroep</a:t>
            </a:r>
          </a:p>
          <a:p>
            <a:pPr marL="171442" indent="-171442" fontAlgn="base">
              <a:buFont typeface="Arial" panose="020B0604020202020204" pitchFamily="34" charset="0"/>
              <a:buChar char="•"/>
            </a:pPr>
            <a:r>
              <a:rPr lang="nl-NL" sz="1400">
                <a:solidFill>
                  <a:srgbClr val="1D5886"/>
                </a:solidFill>
                <a:latin typeface="Barlow" panose="00000500000000000000" pitchFamily="2" charset="0"/>
              </a:rPr>
              <a:t>Bestaande uit:</a:t>
            </a:r>
          </a:p>
          <a:p>
            <a:pPr marL="171442" indent="-171442" fontAlgn="base">
              <a:buFont typeface="Arial" panose="020B0604020202020204" pitchFamily="34" charset="0"/>
              <a:buChar char="•"/>
            </a:pPr>
            <a:r>
              <a:rPr lang="nl-NL" sz="1400">
                <a:solidFill>
                  <a:srgbClr val="1D5886"/>
                </a:solidFill>
                <a:latin typeface="Barlow" panose="00000500000000000000" pitchFamily="2" charset="0"/>
              </a:rPr>
              <a:t>5 kinderartsen uit 5 </a:t>
            </a:r>
            <a:r>
              <a:rPr lang="nl-NL" sz="1400" err="1">
                <a:solidFill>
                  <a:srgbClr val="1D5886"/>
                </a:solidFill>
                <a:latin typeface="Barlow" panose="00000500000000000000" pitchFamily="2" charset="0"/>
              </a:rPr>
              <a:t>ROAZ’en</a:t>
            </a:r>
            <a:r>
              <a:rPr lang="nl-NL" sz="1400">
                <a:solidFill>
                  <a:srgbClr val="1D5886"/>
                </a:solidFill>
                <a:latin typeface="Barlow" panose="00000500000000000000" pitchFamily="2" charset="0"/>
              </a:rPr>
              <a:t> (waaronder regio Zuidwest als voorloper)</a:t>
            </a:r>
          </a:p>
          <a:p>
            <a:pPr marL="171442" indent="-171442" fontAlgn="base">
              <a:buFont typeface="Arial" panose="020B0604020202020204" pitchFamily="34" charset="0"/>
              <a:buChar char="•"/>
            </a:pPr>
            <a:r>
              <a:rPr lang="nl-NL" sz="1400">
                <a:solidFill>
                  <a:srgbClr val="1D5886"/>
                </a:solidFill>
                <a:latin typeface="Barlow" panose="00000500000000000000" pitchFamily="2" charset="0"/>
              </a:rPr>
              <a:t>Teamhoofd kliniek kindergeneeskunde</a:t>
            </a:r>
          </a:p>
          <a:p>
            <a:pPr marL="171442" indent="-171442" fontAlgn="base">
              <a:buFont typeface="Arial" panose="020B0604020202020204" pitchFamily="34" charset="0"/>
              <a:buChar char="•"/>
            </a:pPr>
            <a:r>
              <a:rPr lang="nl-NL" sz="1400">
                <a:solidFill>
                  <a:srgbClr val="1D5886"/>
                </a:solidFill>
                <a:latin typeface="Barlow" panose="00000500000000000000" pitchFamily="2" charset="0"/>
              </a:rPr>
              <a:t>Adviseur capaciteitscentrum</a:t>
            </a:r>
          </a:p>
          <a:p>
            <a:pPr marL="171442" indent="-171442" fontAlgn="base">
              <a:buFont typeface="Arial" panose="020B0604020202020204" pitchFamily="34" charset="0"/>
              <a:buChar char="•"/>
            </a:pPr>
            <a:r>
              <a:rPr lang="nl-NL" sz="1400">
                <a:solidFill>
                  <a:srgbClr val="1D5886"/>
                </a:solidFill>
                <a:latin typeface="Barlow" panose="00000500000000000000" pitchFamily="2" charset="0"/>
              </a:rPr>
              <a:t>Adviseur netwerkbureau acute zorg</a:t>
            </a:r>
          </a:p>
          <a:p>
            <a:pPr marL="171442" indent="-171442" fontAlgn="base">
              <a:buFont typeface="Arial" panose="020B0604020202020204" pitchFamily="34" charset="0"/>
              <a:buChar char="•"/>
            </a:pPr>
            <a:r>
              <a:rPr lang="nl-NL" sz="1400">
                <a:solidFill>
                  <a:srgbClr val="1D5886"/>
                </a:solidFill>
                <a:latin typeface="Barlow" panose="00000500000000000000" pitchFamily="2" charset="0"/>
              </a:rPr>
              <a:t>Product </a:t>
            </a:r>
            <a:r>
              <a:rPr lang="nl-NL" sz="1400" err="1">
                <a:solidFill>
                  <a:srgbClr val="1D5886"/>
                </a:solidFill>
                <a:latin typeface="Barlow" panose="00000500000000000000" pitchFamily="2" charset="0"/>
              </a:rPr>
              <a:t>owner</a:t>
            </a:r>
            <a:r>
              <a:rPr lang="nl-NL" sz="1400">
                <a:solidFill>
                  <a:srgbClr val="1D5886"/>
                </a:solidFill>
                <a:latin typeface="Barlow" panose="00000500000000000000" pitchFamily="2" charset="0"/>
              </a:rPr>
              <a:t> LPZ</a:t>
            </a:r>
          </a:p>
          <a:p>
            <a:pPr marL="171442" indent="-171442" fontAlgn="base">
              <a:buFont typeface="Arial" panose="020B0604020202020204" pitchFamily="34" charset="0"/>
              <a:buChar char="•"/>
            </a:pPr>
            <a:r>
              <a:rPr lang="nl-NL" sz="1400" err="1">
                <a:solidFill>
                  <a:srgbClr val="1D5886"/>
                </a:solidFill>
                <a:latin typeface="Barlow" panose="00000500000000000000" pitchFamily="2" charset="0"/>
              </a:rPr>
              <a:t>Beleidsadvieurs</a:t>
            </a:r>
            <a:r>
              <a:rPr lang="nl-NL" sz="1400">
                <a:solidFill>
                  <a:srgbClr val="1D5886"/>
                </a:solidFill>
                <a:latin typeface="Barlow" panose="00000500000000000000" pitchFamily="2" charset="0"/>
              </a:rPr>
              <a:t> NVK en LNAZ</a:t>
            </a:r>
          </a:p>
          <a:p>
            <a:pPr marL="342900" indent="-342900">
              <a:buFont typeface="Arial" panose="020B0604020202020204" pitchFamily="34" charset="0"/>
              <a:buChar char="•"/>
            </a:pPr>
            <a:endParaRPr lang="nl-NL" sz="2400">
              <a:solidFill>
                <a:srgbClr val="1D5886"/>
              </a:solidFill>
              <a:latin typeface="Barlow" panose="00000500000000000000" pitchFamily="2" charset="0"/>
            </a:endParaRPr>
          </a:p>
        </p:txBody>
      </p:sp>
      <p:sp>
        <p:nvSpPr>
          <p:cNvPr id="12" name="Rechthoek: afgeronde hoeken 11">
            <a:extLst>
              <a:ext uri="{FF2B5EF4-FFF2-40B4-BE49-F238E27FC236}">
                <a16:creationId xmlns:a16="http://schemas.microsoft.com/office/drawing/2014/main" id="{5364262D-B180-479B-B9FB-8B8CBEDA713B}"/>
              </a:ext>
            </a:extLst>
          </p:cNvPr>
          <p:cNvSpPr/>
          <p:nvPr/>
        </p:nvSpPr>
        <p:spPr>
          <a:xfrm>
            <a:off x="856647" y="5296425"/>
            <a:ext cx="10478705" cy="929447"/>
          </a:xfrm>
          <a:prstGeom prst="roundRect">
            <a:avLst/>
          </a:prstGeom>
          <a:solidFill>
            <a:srgbClr val="F8FA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NL" b="1">
                <a:solidFill>
                  <a:srgbClr val="1D5886"/>
                </a:solidFill>
                <a:latin typeface="Barlow" panose="00000500000000000000" pitchFamily="2" charset="0"/>
              </a:rPr>
              <a:t>Kernvraag: </a:t>
            </a:r>
            <a:r>
              <a:rPr lang="nl-NL">
                <a:solidFill>
                  <a:srgbClr val="1D5886"/>
                </a:solidFill>
                <a:latin typeface="Barlow" panose="00000500000000000000" pitchFamily="2" charset="0"/>
              </a:rPr>
              <a:t>Welke informatie heb je nodig wanneer je op zoek bent naar een passende plek voor een patiënt onder de 18 jaar?</a:t>
            </a:r>
          </a:p>
        </p:txBody>
      </p:sp>
      <p:sp>
        <p:nvSpPr>
          <p:cNvPr id="5" name="Rechthoek: afgeronde hoeken 6">
            <a:extLst>
              <a:ext uri="{FF2B5EF4-FFF2-40B4-BE49-F238E27FC236}">
                <a16:creationId xmlns:a16="http://schemas.microsoft.com/office/drawing/2014/main" id="{449C3105-29B3-139C-4228-574D5AF4E672}"/>
              </a:ext>
            </a:extLst>
          </p:cNvPr>
          <p:cNvSpPr/>
          <p:nvPr/>
        </p:nvSpPr>
        <p:spPr>
          <a:xfrm>
            <a:off x="286576" y="2437831"/>
            <a:ext cx="3679744" cy="2684201"/>
          </a:xfrm>
          <a:prstGeom prst="roundRect">
            <a:avLst/>
          </a:prstGeom>
          <a:solidFill>
            <a:srgbClr val="F8FA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sz="2400">
              <a:solidFill>
                <a:srgbClr val="1D5886"/>
              </a:solidFill>
              <a:latin typeface="Barlow" panose="00000500000000000000" pitchFamily="2" charset="0"/>
            </a:endParaRPr>
          </a:p>
          <a:p>
            <a:r>
              <a:rPr lang="nl-NL" b="1">
                <a:solidFill>
                  <a:srgbClr val="1D5886"/>
                </a:solidFill>
                <a:latin typeface="Barlow" panose="00000500000000000000" pitchFamily="2" charset="0"/>
              </a:rPr>
              <a:t>Stuurgroep</a:t>
            </a:r>
          </a:p>
          <a:p>
            <a:pPr fontAlgn="base"/>
            <a:r>
              <a:rPr lang="nl-NL">
                <a:solidFill>
                  <a:srgbClr val="1D5886"/>
                </a:solidFill>
                <a:latin typeface="Barlow" panose="00000500000000000000" pitchFamily="2" charset="0"/>
              </a:rPr>
              <a:t>Bestaande uit:</a:t>
            </a:r>
          </a:p>
          <a:p>
            <a:pPr marL="171442" indent="-171442" fontAlgn="base">
              <a:buFont typeface="Arial" panose="020B0604020202020204" pitchFamily="34" charset="0"/>
              <a:buChar char="•"/>
            </a:pPr>
            <a:r>
              <a:rPr lang="nl-NL">
                <a:solidFill>
                  <a:srgbClr val="1D5886"/>
                </a:solidFill>
                <a:latin typeface="Barlow" panose="00000500000000000000" pitchFamily="2" charset="0"/>
              </a:rPr>
              <a:t>Bestuursleden NVK</a:t>
            </a:r>
          </a:p>
          <a:p>
            <a:pPr marL="171442" indent="-171442" fontAlgn="base">
              <a:buFont typeface="Arial" panose="020B0604020202020204" pitchFamily="34" charset="0"/>
              <a:buChar char="•"/>
            </a:pPr>
            <a:r>
              <a:rPr lang="nl-NL">
                <a:solidFill>
                  <a:srgbClr val="1D5886"/>
                </a:solidFill>
                <a:latin typeface="Barlow" panose="00000500000000000000" pitchFamily="2" charset="0"/>
              </a:rPr>
              <a:t>Managers netwerkbureaus acute zorg</a:t>
            </a:r>
          </a:p>
          <a:p>
            <a:pPr marL="171442" indent="-171442" fontAlgn="base">
              <a:buFont typeface="Arial" panose="020B0604020202020204" pitchFamily="34" charset="0"/>
              <a:buChar char="•"/>
            </a:pPr>
            <a:r>
              <a:rPr lang="nl-NL">
                <a:solidFill>
                  <a:srgbClr val="1D5886"/>
                </a:solidFill>
                <a:latin typeface="Barlow" panose="00000500000000000000" pitchFamily="2" charset="0"/>
              </a:rPr>
              <a:t>Product </a:t>
            </a:r>
            <a:r>
              <a:rPr lang="nl-NL" err="1">
                <a:solidFill>
                  <a:srgbClr val="1D5886"/>
                </a:solidFill>
                <a:latin typeface="Barlow" panose="00000500000000000000" pitchFamily="2" charset="0"/>
              </a:rPr>
              <a:t>owner</a:t>
            </a:r>
            <a:r>
              <a:rPr lang="nl-NL">
                <a:solidFill>
                  <a:srgbClr val="1D5886"/>
                </a:solidFill>
                <a:latin typeface="Barlow" panose="00000500000000000000" pitchFamily="2" charset="0"/>
              </a:rPr>
              <a:t> LPZ</a:t>
            </a:r>
          </a:p>
          <a:p>
            <a:pPr marL="171442" indent="-171442" fontAlgn="base">
              <a:buFont typeface="Arial" panose="020B0604020202020204" pitchFamily="34" charset="0"/>
              <a:buChar char="•"/>
            </a:pPr>
            <a:r>
              <a:rPr lang="nl-NL">
                <a:solidFill>
                  <a:srgbClr val="1D5886"/>
                </a:solidFill>
                <a:latin typeface="Barlow" panose="00000500000000000000" pitchFamily="2" charset="0"/>
              </a:rPr>
              <a:t>Beleidsadviseurs NVK en LNAZ</a:t>
            </a:r>
          </a:p>
          <a:p>
            <a:pPr marL="342900" indent="-342900">
              <a:buFont typeface="Arial" panose="020B0604020202020204" pitchFamily="34" charset="0"/>
              <a:buChar char="•"/>
            </a:pPr>
            <a:endParaRPr lang="nl-NL" sz="2400">
              <a:solidFill>
                <a:srgbClr val="1D5886"/>
              </a:solidFill>
              <a:latin typeface="Barlow" panose="00000500000000000000" pitchFamily="2" charset="0"/>
            </a:endParaRPr>
          </a:p>
        </p:txBody>
      </p:sp>
      <p:sp>
        <p:nvSpPr>
          <p:cNvPr id="8" name="Rechthoek: afgeronde hoeken 6">
            <a:extLst>
              <a:ext uri="{FF2B5EF4-FFF2-40B4-BE49-F238E27FC236}">
                <a16:creationId xmlns:a16="http://schemas.microsoft.com/office/drawing/2014/main" id="{AC94170D-CFAC-2002-5B6D-7B49BF6AED2C}"/>
              </a:ext>
            </a:extLst>
          </p:cNvPr>
          <p:cNvSpPr/>
          <p:nvPr/>
        </p:nvSpPr>
        <p:spPr>
          <a:xfrm>
            <a:off x="7983138" y="2399845"/>
            <a:ext cx="3679744" cy="2684201"/>
          </a:xfrm>
          <a:prstGeom prst="roundRect">
            <a:avLst/>
          </a:prstGeom>
          <a:solidFill>
            <a:srgbClr val="F8FA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sz="2400">
              <a:solidFill>
                <a:srgbClr val="1D5886"/>
              </a:solidFill>
              <a:latin typeface="Barlow" panose="00000500000000000000" pitchFamily="2" charset="0"/>
            </a:endParaRPr>
          </a:p>
          <a:p>
            <a:r>
              <a:rPr lang="nl-NL" b="1">
                <a:solidFill>
                  <a:srgbClr val="1D5886"/>
                </a:solidFill>
                <a:latin typeface="Barlow" panose="00000500000000000000" pitchFamily="2" charset="0"/>
              </a:rPr>
              <a:t>Klankbordgroep</a:t>
            </a:r>
          </a:p>
          <a:p>
            <a:pPr algn="just" fontAlgn="base"/>
            <a:r>
              <a:rPr lang="nl-NL">
                <a:solidFill>
                  <a:srgbClr val="1D5886"/>
                </a:solidFill>
                <a:latin typeface="Barlow" panose="00000500000000000000" pitchFamily="2" charset="0"/>
              </a:rPr>
              <a:t>Bestaande uit:</a:t>
            </a:r>
          </a:p>
          <a:p>
            <a:pPr marL="171442" indent="-171442" fontAlgn="base">
              <a:buFont typeface="Arial" panose="020B0604020202020204" pitchFamily="34" charset="0"/>
              <a:buChar char="•"/>
            </a:pPr>
            <a:r>
              <a:rPr lang="nl-NL">
                <a:solidFill>
                  <a:srgbClr val="1D5886"/>
                </a:solidFill>
                <a:latin typeface="Barlow" panose="00000500000000000000" pitchFamily="2" charset="0"/>
              </a:rPr>
              <a:t>10 kinderartsen uit alle ROAZ regio’s</a:t>
            </a:r>
          </a:p>
          <a:p>
            <a:pPr marL="171442" indent="-171442" fontAlgn="base">
              <a:buFont typeface="Arial" panose="020B0604020202020204" pitchFamily="34" charset="0"/>
              <a:buChar char="•"/>
            </a:pPr>
            <a:r>
              <a:rPr lang="nl-NL">
                <a:solidFill>
                  <a:srgbClr val="1D5886"/>
                </a:solidFill>
                <a:latin typeface="Barlow" panose="00000500000000000000" pitchFamily="2" charset="0"/>
              </a:rPr>
              <a:t>Adviseurs netwerkbureau acute zorg</a:t>
            </a:r>
          </a:p>
          <a:p>
            <a:pPr marL="171442" indent="-171442" fontAlgn="base">
              <a:buFont typeface="Arial" panose="020B0604020202020204" pitchFamily="34" charset="0"/>
              <a:buChar char="•"/>
            </a:pPr>
            <a:r>
              <a:rPr lang="nl-NL">
                <a:solidFill>
                  <a:srgbClr val="1D5886"/>
                </a:solidFill>
                <a:latin typeface="Barlow" panose="00000500000000000000" pitchFamily="2" charset="0"/>
              </a:rPr>
              <a:t>Beleidsadviseurs NFU en NVZ</a:t>
            </a:r>
          </a:p>
          <a:p>
            <a:pPr marL="342900" indent="-342900">
              <a:buFont typeface="Arial" panose="020B0604020202020204" pitchFamily="34" charset="0"/>
              <a:buChar char="•"/>
            </a:pPr>
            <a:endParaRPr lang="nl-NL" sz="2400">
              <a:solidFill>
                <a:srgbClr val="1D5886"/>
              </a:solidFill>
              <a:latin typeface="Barlow" panose="00000500000000000000" pitchFamily="2" charset="0"/>
            </a:endParaRPr>
          </a:p>
        </p:txBody>
      </p:sp>
    </p:spTree>
    <p:extLst>
      <p:ext uri="{BB962C8B-B14F-4D97-AF65-F5344CB8AC3E}">
        <p14:creationId xmlns:p14="http://schemas.microsoft.com/office/powerpoint/2010/main" val="15295522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hoek: afgeronde hoeken 7">
            <a:extLst>
              <a:ext uri="{FF2B5EF4-FFF2-40B4-BE49-F238E27FC236}">
                <a16:creationId xmlns:a16="http://schemas.microsoft.com/office/drawing/2014/main" id="{3CAADD0A-F914-B09F-A307-E49CA1CAFEE2}"/>
              </a:ext>
            </a:extLst>
          </p:cNvPr>
          <p:cNvSpPr/>
          <p:nvPr/>
        </p:nvSpPr>
        <p:spPr>
          <a:xfrm>
            <a:off x="6217921" y="1362155"/>
            <a:ext cx="4983480" cy="5210094"/>
          </a:xfrm>
          <a:prstGeom prst="roundRect">
            <a:avLst/>
          </a:prstGeom>
          <a:solidFill>
            <a:srgbClr val="F8FA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sz="2000" b="1">
              <a:solidFill>
                <a:srgbClr val="1D5886"/>
              </a:solidFill>
              <a:latin typeface="Barlow" panose="00000500000000000000" pitchFamily="2" charset="0"/>
            </a:endParaRPr>
          </a:p>
          <a:p>
            <a:r>
              <a:rPr lang="nl-NL" b="1">
                <a:solidFill>
                  <a:srgbClr val="1D5886"/>
                </a:solidFill>
                <a:latin typeface="Barlow" panose="00000500000000000000" pitchFamily="2" charset="0"/>
              </a:rPr>
              <a:t>Dashboard neonatologie LPZ</a:t>
            </a:r>
          </a:p>
          <a:p>
            <a:r>
              <a:rPr lang="nl-NL" i="1">
                <a:solidFill>
                  <a:srgbClr val="1D5886"/>
                </a:solidFill>
                <a:latin typeface="Barlow" panose="00000500000000000000" pitchFamily="2" charset="0"/>
              </a:rPr>
              <a:t>Capaciteitsitems/</a:t>
            </a:r>
            <a:r>
              <a:rPr lang="nl-NL" i="1" err="1">
                <a:solidFill>
                  <a:srgbClr val="1D5886"/>
                </a:solidFill>
                <a:latin typeface="Barlow" panose="00000500000000000000" pitchFamily="2" charset="0"/>
              </a:rPr>
              <a:t>bedtypes</a:t>
            </a:r>
            <a:r>
              <a:rPr lang="nl-NL" i="1">
                <a:solidFill>
                  <a:srgbClr val="1D5886"/>
                </a:solidFill>
                <a:latin typeface="Barlow" panose="00000500000000000000" pitchFamily="2" charset="0"/>
              </a:rPr>
              <a:t>*:</a:t>
            </a:r>
            <a:endParaRPr lang="nl-NL" b="1">
              <a:solidFill>
                <a:srgbClr val="1D5886"/>
              </a:solidFill>
              <a:latin typeface="Barlow" panose="00000500000000000000" pitchFamily="2" charset="0"/>
            </a:endParaRPr>
          </a:p>
          <a:p>
            <a:pPr marL="285750" indent="-285750" fontAlgn="ctr">
              <a:buFont typeface="Arial" panose="020B0604020202020204" pitchFamily="34" charset="0"/>
              <a:buChar char="•"/>
            </a:pPr>
            <a:r>
              <a:rPr lang="nl-NL">
                <a:solidFill>
                  <a:srgbClr val="1D5886"/>
                </a:solidFill>
              </a:rPr>
              <a:t>Neonaat bed op kamer (definitie: bed voor een neonaat op een eenpersoonskamer)</a:t>
            </a:r>
          </a:p>
          <a:p>
            <a:pPr marL="285750" indent="-285750" fontAlgn="ctr">
              <a:buFont typeface="Arial" panose="020B0604020202020204" pitchFamily="34" charset="0"/>
              <a:buChar char="•"/>
            </a:pPr>
            <a:r>
              <a:rPr lang="nl-NL">
                <a:solidFill>
                  <a:srgbClr val="1D5886"/>
                </a:solidFill>
              </a:rPr>
              <a:t>Neonaat bed op zaal (definitie: bed voor een neonaat op een meerpersoonskamer)</a:t>
            </a:r>
          </a:p>
          <a:p>
            <a:pPr fontAlgn="ctr"/>
            <a:endParaRPr lang="nl-NL">
              <a:solidFill>
                <a:srgbClr val="1D5886"/>
              </a:solidFill>
            </a:endParaRPr>
          </a:p>
          <a:p>
            <a:r>
              <a:rPr lang="nl-NL" sz="2000" i="1">
                <a:solidFill>
                  <a:srgbClr val="1D5886"/>
                </a:solidFill>
                <a:latin typeface="Barlow" panose="00000500000000000000" pitchFamily="2" charset="0"/>
              </a:rPr>
              <a:t>Apparatuurstop:</a:t>
            </a:r>
          </a:p>
          <a:p>
            <a:pPr marL="342900" indent="-342900">
              <a:buFont typeface="Arial" panose="020B0604020202020204" pitchFamily="34" charset="0"/>
              <a:buChar char="•"/>
            </a:pPr>
            <a:r>
              <a:rPr lang="nl-NL" sz="1600">
                <a:solidFill>
                  <a:srgbClr val="1D5886"/>
                </a:solidFill>
                <a:latin typeface="Barlow" panose="00000500000000000000" pitchFamily="2" charset="0"/>
              </a:rPr>
              <a:t>Monitor: Ziekenhuizen kunnen handmatig aangeven dat monitoren tijdelijk niet beschikbaar zijn. Deze status springt na 24 uur automatisch terug naar ‘beschikbaar’.</a:t>
            </a:r>
          </a:p>
          <a:p>
            <a:pPr marL="342900" indent="-342900">
              <a:buFont typeface="Arial" panose="020B0604020202020204" pitchFamily="34" charset="0"/>
              <a:buChar char="•"/>
            </a:pPr>
            <a:r>
              <a:rPr lang="nl-NL" sz="1600">
                <a:solidFill>
                  <a:srgbClr val="1D5886"/>
                </a:solidFill>
                <a:latin typeface="Barlow" panose="00000500000000000000" pitchFamily="2" charset="0"/>
              </a:rPr>
              <a:t>AHO: Ziekenhuizen kunnen handmatig aangeven dat ademhalingsondersteuning anders dan </a:t>
            </a:r>
            <a:r>
              <a:rPr lang="nl-NL" sz="1600" err="1">
                <a:solidFill>
                  <a:srgbClr val="1D5886"/>
                </a:solidFill>
                <a:latin typeface="Barlow" panose="00000500000000000000" pitchFamily="2" charset="0"/>
              </a:rPr>
              <a:t>lowflow</a:t>
            </a:r>
            <a:r>
              <a:rPr lang="nl-NL" sz="1600">
                <a:solidFill>
                  <a:srgbClr val="1D5886"/>
                </a:solidFill>
                <a:latin typeface="Barlow" panose="00000500000000000000" pitchFamily="2" charset="0"/>
              </a:rPr>
              <a:t> (AHO) niet beschikbaar zijn. Deze status springt na 24 uur automatisch terug naar ‘beschikbaar’.</a:t>
            </a:r>
          </a:p>
        </p:txBody>
      </p:sp>
      <p:sp>
        <p:nvSpPr>
          <p:cNvPr id="2" name="Tijdelijke aanduiding voor dianummer 1">
            <a:extLst>
              <a:ext uri="{FF2B5EF4-FFF2-40B4-BE49-F238E27FC236}">
                <a16:creationId xmlns:a16="http://schemas.microsoft.com/office/drawing/2014/main" id="{0B95674E-F105-8C30-F6BE-0430A8492C12}"/>
              </a:ext>
            </a:extLst>
          </p:cNvPr>
          <p:cNvSpPr>
            <a:spLocks noGrp="1"/>
          </p:cNvSpPr>
          <p:nvPr>
            <p:ph type="sldNum" sz="quarter" idx="12"/>
          </p:nvPr>
        </p:nvSpPr>
        <p:spPr/>
        <p:txBody>
          <a:bodyPr/>
          <a:lstStyle/>
          <a:p>
            <a:fld id="{69E57DC2-970A-4B3E-BB1C-7A09969E49DF}" type="slidenum">
              <a:rPr lang="nl-NL" smtClean="0"/>
              <a:t>14</a:t>
            </a:fld>
            <a:endParaRPr lang="nl-NL"/>
          </a:p>
        </p:txBody>
      </p:sp>
      <p:sp>
        <p:nvSpPr>
          <p:cNvPr id="4" name="Titel 3">
            <a:extLst>
              <a:ext uri="{FF2B5EF4-FFF2-40B4-BE49-F238E27FC236}">
                <a16:creationId xmlns:a16="http://schemas.microsoft.com/office/drawing/2014/main" id="{D5DFC5F8-A2AF-5D5C-F0D8-C8AB81B1606C}"/>
              </a:ext>
            </a:extLst>
          </p:cNvPr>
          <p:cNvSpPr>
            <a:spLocks noGrp="1"/>
          </p:cNvSpPr>
          <p:nvPr>
            <p:ph type="title"/>
          </p:nvPr>
        </p:nvSpPr>
        <p:spPr/>
        <p:txBody>
          <a:bodyPr>
            <a:normAutofit fontScale="90000"/>
          </a:bodyPr>
          <a:lstStyle/>
          <a:p>
            <a:r>
              <a:rPr lang="nl-NL"/>
              <a:t>Ontwikkeling | Welke informatie staat er op de dashboards kindergeneeskunde en neonatologie 2.0?</a:t>
            </a:r>
          </a:p>
        </p:txBody>
      </p:sp>
      <p:sp>
        <p:nvSpPr>
          <p:cNvPr id="7" name="Rechthoek: afgeronde hoeken 6">
            <a:extLst>
              <a:ext uri="{FF2B5EF4-FFF2-40B4-BE49-F238E27FC236}">
                <a16:creationId xmlns:a16="http://schemas.microsoft.com/office/drawing/2014/main" id="{4F7600E4-0FB6-F7AA-FD26-31C6FC310EB7}"/>
              </a:ext>
            </a:extLst>
          </p:cNvPr>
          <p:cNvSpPr/>
          <p:nvPr/>
        </p:nvSpPr>
        <p:spPr>
          <a:xfrm>
            <a:off x="915988" y="1453699"/>
            <a:ext cx="5058092" cy="5118550"/>
          </a:xfrm>
          <a:prstGeom prst="roundRect">
            <a:avLst/>
          </a:prstGeom>
          <a:solidFill>
            <a:srgbClr val="F8FA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NL" b="1">
                <a:solidFill>
                  <a:srgbClr val="1D5886"/>
                </a:solidFill>
                <a:latin typeface="Barlow" panose="00000500000000000000" pitchFamily="2" charset="0"/>
              </a:rPr>
              <a:t>Dashboard kindergeneeskunde LPZ</a:t>
            </a:r>
          </a:p>
          <a:p>
            <a:r>
              <a:rPr lang="nl-NL" i="1">
                <a:solidFill>
                  <a:srgbClr val="1D5886"/>
                </a:solidFill>
                <a:latin typeface="Barlow" panose="00000500000000000000" pitchFamily="2" charset="0"/>
              </a:rPr>
              <a:t>Capaciteitsitems/bedtypes:</a:t>
            </a:r>
          </a:p>
          <a:p>
            <a:pPr marL="342900" indent="-342900">
              <a:buFont typeface="Arial" panose="020B0604020202020204" pitchFamily="34" charset="0"/>
              <a:buChar char="•"/>
            </a:pPr>
            <a:r>
              <a:rPr lang="nl-NL">
                <a:solidFill>
                  <a:srgbClr val="1D5886"/>
                </a:solidFill>
                <a:latin typeface="Barlow" panose="00000500000000000000" pitchFamily="2" charset="0"/>
              </a:rPr>
              <a:t>Kind bed op kamer </a:t>
            </a:r>
            <a:r>
              <a:rPr lang="nl-NL">
                <a:solidFill>
                  <a:srgbClr val="1D5886"/>
                </a:solidFill>
              </a:rPr>
              <a:t>(definitie: bed voor een kind op een eenpersoonskamer)</a:t>
            </a:r>
            <a:endParaRPr lang="nl-NL">
              <a:solidFill>
                <a:srgbClr val="1D5886"/>
              </a:solidFill>
              <a:latin typeface="Barlow" panose="00000500000000000000" pitchFamily="2" charset="0"/>
            </a:endParaRPr>
          </a:p>
          <a:p>
            <a:pPr marL="342900" indent="-342900">
              <a:buFont typeface="Arial" panose="020B0604020202020204" pitchFamily="34" charset="0"/>
              <a:buChar char="•"/>
            </a:pPr>
            <a:r>
              <a:rPr lang="nl-NL">
                <a:solidFill>
                  <a:srgbClr val="1D5886"/>
                </a:solidFill>
                <a:latin typeface="Barlow" panose="00000500000000000000" pitchFamily="2" charset="0"/>
              </a:rPr>
              <a:t>Kind bed op zaal </a:t>
            </a:r>
            <a:r>
              <a:rPr lang="nl-NL">
                <a:solidFill>
                  <a:srgbClr val="1D5886"/>
                </a:solidFill>
              </a:rPr>
              <a:t>(definitie: bed voor een kind op een meerpersoonskamer)</a:t>
            </a:r>
            <a:endParaRPr lang="nl-NL">
              <a:solidFill>
                <a:srgbClr val="1D5886"/>
              </a:solidFill>
              <a:latin typeface="Barlow" panose="00000500000000000000" pitchFamily="2" charset="0"/>
            </a:endParaRPr>
          </a:p>
          <a:p>
            <a:pPr marL="342900" indent="-342900">
              <a:buFont typeface="Arial" panose="020B0604020202020204" pitchFamily="34" charset="0"/>
              <a:buChar char="•"/>
            </a:pPr>
            <a:endParaRPr lang="nl-NL">
              <a:solidFill>
                <a:srgbClr val="1D5886"/>
              </a:solidFill>
              <a:latin typeface="Barlow" panose="00000500000000000000" pitchFamily="2" charset="0"/>
            </a:endParaRPr>
          </a:p>
          <a:p>
            <a:r>
              <a:rPr lang="nl-NL" i="1">
                <a:solidFill>
                  <a:srgbClr val="1D5886"/>
                </a:solidFill>
                <a:latin typeface="Barlow" panose="00000500000000000000" pitchFamily="2" charset="0"/>
              </a:rPr>
              <a:t>Apparatuurstop:</a:t>
            </a:r>
          </a:p>
          <a:p>
            <a:pPr marL="342900" indent="-342900">
              <a:buFont typeface="Arial" panose="020B0604020202020204" pitchFamily="34" charset="0"/>
              <a:buChar char="•"/>
            </a:pPr>
            <a:r>
              <a:rPr lang="nl-NL">
                <a:solidFill>
                  <a:srgbClr val="1D5886"/>
                </a:solidFill>
                <a:latin typeface="Barlow" panose="00000500000000000000" pitchFamily="2" charset="0"/>
              </a:rPr>
              <a:t>Monitor: Ziekenhuizen kunnen handmatig aangeven dat monitoren tijdelijk niet beschikbaar zijn. Deze status springt na 24 uur automatisch terug naar ‘beschikbaar’.</a:t>
            </a:r>
          </a:p>
        </p:txBody>
      </p:sp>
      <p:pic>
        <p:nvPicPr>
          <p:cNvPr id="9" name="Graphic 8" descr="Schoolmeisje silhouet">
            <a:extLst>
              <a:ext uri="{FF2B5EF4-FFF2-40B4-BE49-F238E27FC236}">
                <a16:creationId xmlns:a16="http://schemas.microsoft.com/office/drawing/2014/main" id="{98D06AC0-82FC-2B4A-00AA-E3EE6574A59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79656" y="1362155"/>
            <a:ext cx="914400" cy="914400"/>
          </a:xfrm>
          <a:prstGeom prst="rect">
            <a:avLst/>
          </a:prstGeom>
        </p:spPr>
      </p:pic>
      <p:pic>
        <p:nvPicPr>
          <p:cNvPr id="13" name="Graphic 12" descr="Baby silhouet">
            <a:extLst>
              <a:ext uri="{FF2B5EF4-FFF2-40B4-BE49-F238E27FC236}">
                <a16:creationId xmlns:a16="http://schemas.microsoft.com/office/drawing/2014/main" id="{34367A62-C48B-DF8A-E3E8-66C0234231F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287000" y="1453699"/>
            <a:ext cx="914400" cy="914400"/>
          </a:xfrm>
          <a:prstGeom prst="rect">
            <a:avLst/>
          </a:prstGeom>
        </p:spPr>
      </p:pic>
    </p:spTree>
    <p:extLst>
      <p:ext uri="{BB962C8B-B14F-4D97-AF65-F5344CB8AC3E}">
        <p14:creationId xmlns:p14="http://schemas.microsoft.com/office/powerpoint/2010/main" val="37643244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F019F2A3-40E0-6119-38BB-639982083DB5}"/>
              </a:ext>
            </a:extLst>
          </p:cNvPr>
          <p:cNvSpPr>
            <a:spLocks noGrp="1"/>
          </p:cNvSpPr>
          <p:nvPr>
            <p:ph type="sldNum" sz="quarter" idx="12"/>
          </p:nvPr>
        </p:nvSpPr>
        <p:spPr/>
        <p:txBody>
          <a:bodyPr/>
          <a:lstStyle/>
          <a:p>
            <a:fld id="{69E57DC2-970A-4B3E-BB1C-7A09969E49DF}" type="slidenum">
              <a:rPr lang="nl-NL" smtClean="0"/>
              <a:t>15</a:t>
            </a:fld>
            <a:endParaRPr lang="nl-NL"/>
          </a:p>
        </p:txBody>
      </p:sp>
      <p:sp>
        <p:nvSpPr>
          <p:cNvPr id="3" name="Tijdelijke aanduiding voor inhoud 2">
            <a:extLst>
              <a:ext uri="{FF2B5EF4-FFF2-40B4-BE49-F238E27FC236}">
                <a16:creationId xmlns:a16="http://schemas.microsoft.com/office/drawing/2014/main" id="{152101A7-8ADD-BB25-FF53-9B83E988B48C}"/>
              </a:ext>
            </a:extLst>
          </p:cNvPr>
          <p:cNvSpPr>
            <a:spLocks noGrp="1"/>
          </p:cNvSpPr>
          <p:nvPr>
            <p:ph idx="1"/>
          </p:nvPr>
        </p:nvSpPr>
        <p:spPr/>
        <p:txBody>
          <a:bodyPr/>
          <a:lstStyle/>
          <a:p>
            <a:r>
              <a:rPr lang="nl-NL"/>
              <a:t>De nieuwe capaciteitsitems/ </a:t>
            </a:r>
            <a:r>
              <a:rPr lang="nl-NL" err="1"/>
              <a:t>bedtypes</a:t>
            </a:r>
            <a:r>
              <a:rPr lang="nl-NL"/>
              <a:t> van de neonatologie worden ook weergegeven op het Geboortezorgdashboard van het LPZ, ter vervanging van de eerdere capaciteitsitems/</a:t>
            </a:r>
            <a:r>
              <a:rPr lang="nl-NL" err="1"/>
              <a:t>bedtypes</a:t>
            </a:r>
            <a:r>
              <a:rPr lang="nl-NL"/>
              <a:t>. Op het Geboortezorgdashboard zal de neonatologie er als volgt uitzien:</a:t>
            </a:r>
          </a:p>
        </p:txBody>
      </p:sp>
      <p:sp>
        <p:nvSpPr>
          <p:cNvPr id="4" name="Titel 3">
            <a:extLst>
              <a:ext uri="{FF2B5EF4-FFF2-40B4-BE49-F238E27FC236}">
                <a16:creationId xmlns:a16="http://schemas.microsoft.com/office/drawing/2014/main" id="{68ACDE89-9C63-F8D3-169C-07DB7D9EEBC2}"/>
              </a:ext>
            </a:extLst>
          </p:cNvPr>
          <p:cNvSpPr>
            <a:spLocks noGrp="1"/>
          </p:cNvSpPr>
          <p:nvPr>
            <p:ph type="title"/>
          </p:nvPr>
        </p:nvSpPr>
        <p:spPr/>
        <p:txBody>
          <a:bodyPr>
            <a:normAutofit fontScale="90000"/>
          </a:bodyPr>
          <a:lstStyle/>
          <a:p>
            <a:r>
              <a:rPr lang="nl-NL"/>
              <a:t>Ontwikkeling | Neonatologie en het geboortezorgdashboard</a:t>
            </a:r>
          </a:p>
        </p:txBody>
      </p:sp>
      <p:pic>
        <p:nvPicPr>
          <p:cNvPr id="8" name="Afbeelding 7" descr="Afbeelding met tekst, schermopname, nummer, software&#10;&#10;Door AI gegenereerde inhoud is mogelijk onjuist.">
            <a:extLst>
              <a:ext uri="{FF2B5EF4-FFF2-40B4-BE49-F238E27FC236}">
                <a16:creationId xmlns:a16="http://schemas.microsoft.com/office/drawing/2014/main" id="{1BBD131A-B080-343E-F98B-919971F544E9}"/>
              </a:ext>
            </a:extLst>
          </p:cNvPr>
          <p:cNvPicPr>
            <a:picLocks noChangeAspect="1"/>
          </p:cNvPicPr>
          <p:nvPr/>
        </p:nvPicPr>
        <p:blipFill>
          <a:blip r:embed="rId3"/>
          <a:stretch>
            <a:fillRect/>
          </a:stretch>
        </p:blipFill>
        <p:spPr>
          <a:xfrm>
            <a:off x="3131488" y="2335487"/>
            <a:ext cx="5371224" cy="4002088"/>
          </a:xfrm>
          <a:prstGeom prst="rect">
            <a:avLst/>
          </a:prstGeom>
        </p:spPr>
      </p:pic>
      <p:sp>
        <p:nvSpPr>
          <p:cNvPr id="9" name="Ovaal 8">
            <a:extLst>
              <a:ext uri="{FF2B5EF4-FFF2-40B4-BE49-F238E27FC236}">
                <a16:creationId xmlns:a16="http://schemas.microsoft.com/office/drawing/2014/main" id="{096A0EE1-08F8-AFD9-E158-367F7A65B381}"/>
              </a:ext>
            </a:extLst>
          </p:cNvPr>
          <p:cNvSpPr/>
          <p:nvPr/>
        </p:nvSpPr>
        <p:spPr>
          <a:xfrm>
            <a:off x="4437718" y="3805416"/>
            <a:ext cx="2628100" cy="863245"/>
          </a:xfrm>
          <a:prstGeom prst="ellipse">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4164741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C22D2D58-779B-83DE-AC8F-7902A68651D0}"/>
              </a:ext>
            </a:extLst>
          </p:cNvPr>
          <p:cNvSpPr>
            <a:spLocks noGrp="1"/>
          </p:cNvSpPr>
          <p:nvPr>
            <p:ph type="sldNum" sz="quarter" idx="12"/>
          </p:nvPr>
        </p:nvSpPr>
        <p:spPr/>
        <p:txBody>
          <a:bodyPr/>
          <a:lstStyle/>
          <a:p>
            <a:fld id="{69E57DC2-970A-4B3E-BB1C-7A09969E49DF}" type="slidenum">
              <a:rPr lang="nl-NL" smtClean="0"/>
              <a:t>16</a:t>
            </a:fld>
            <a:endParaRPr lang="nl-NL"/>
          </a:p>
        </p:txBody>
      </p:sp>
      <p:sp>
        <p:nvSpPr>
          <p:cNvPr id="3" name="Tijdelijke aanduiding voor inhoud 2">
            <a:extLst>
              <a:ext uri="{FF2B5EF4-FFF2-40B4-BE49-F238E27FC236}">
                <a16:creationId xmlns:a16="http://schemas.microsoft.com/office/drawing/2014/main" id="{3535CFB9-80DA-292C-0955-D0A8D3D1B77E}"/>
              </a:ext>
            </a:extLst>
          </p:cNvPr>
          <p:cNvSpPr>
            <a:spLocks noGrp="1"/>
          </p:cNvSpPr>
          <p:nvPr>
            <p:ph idx="1"/>
          </p:nvPr>
        </p:nvSpPr>
        <p:spPr/>
        <p:txBody>
          <a:bodyPr vert="horz" lIns="91440" tIns="45720" rIns="91440" bIns="45720" rtlCol="0" anchor="t">
            <a:normAutofit/>
          </a:bodyPr>
          <a:lstStyle/>
          <a:p>
            <a:pPr marL="342900" lvl="1" indent="-342900">
              <a:spcBef>
                <a:spcPts val="1000"/>
              </a:spcBef>
            </a:pPr>
            <a:r>
              <a:rPr lang="nl-NL" sz="1800" i="0">
                <a:latin typeface="Barlow Medium" panose="00000600000000000000" pitchFamily="2" charset="0"/>
              </a:rPr>
              <a:t>Versimpeling van capaciteitsitems/</a:t>
            </a:r>
            <a:r>
              <a:rPr lang="nl-NL" sz="1800" i="0" err="1">
                <a:latin typeface="Barlow Medium" panose="00000600000000000000" pitchFamily="2" charset="0"/>
              </a:rPr>
              <a:t>bedtypes</a:t>
            </a:r>
            <a:r>
              <a:rPr lang="nl-NL" sz="1800" i="0">
                <a:latin typeface="Barlow Medium" panose="00000600000000000000" pitchFamily="2" charset="0"/>
              </a:rPr>
              <a:t>.</a:t>
            </a:r>
          </a:p>
          <a:p>
            <a:pPr marL="342900" lvl="1" indent="-342900">
              <a:spcBef>
                <a:spcPts val="1000"/>
              </a:spcBef>
            </a:pPr>
            <a:r>
              <a:rPr lang="nl-NL" sz="1800" i="0">
                <a:latin typeface="Barlow Medium"/>
              </a:rPr>
              <a:t>Toepassing van nieuwe functionele mogelijkheden (bijv. automatisch uit systeem informatie doorkrijgen over een/</a:t>
            </a:r>
            <a:r>
              <a:rPr lang="nl-NL" sz="1800" i="0" err="1">
                <a:latin typeface="Barlow Medium"/>
              </a:rPr>
              <a:t>meerpersoonskamer</a:t>
            </a:r>
            <a:r>
              <a:rPr lang="nl-NL" sz="1800" i="0">
                <a:latin typeface="Barlow Medium"/>
              </a:rPr>
              <a:t> + functionaliteit rondom apparatuurstop).</a:t>
            </a:r>
          </a:p>
          <a:p>
            <a:pPr marL="342900" lvl="1" indent="-342900">
              <a:spcBef>
                <a:spcPts val="1000"/>
              </a:spcBef>
            </a:pPr>
            <a:r>
              <a:rPr lang="nl-NL" sz="1800" i="0">
                <a:latin typeface="Barlow Medium" panose="00000600000000000000" pitchFamily="2" charset="0"/>
              </a:rPr>
              <a:t>Minder informatie benodigd om te tonen (bijv. geen behoefte aan SEH-openstellingsinformatie).</a:t>
            </a:r>
          </a:p>
          <a:p>
            <a:pPr marL="342900" lvl="1" indent="-342900">
              <a:spcBef>
                <a:spcPts val="1000"/>
              </a:spcBef>
            </a:pPr>
            <a:r>
              <a:rPr lang="nl-NL" sz="1800" i="0">
                <a:latin typeface="Barlow Medium" panose="00000600000000000000" pitchFamily="2" charset="0"/>
              </a:rPr>
              <a:t>Nieuwe designs van dashboards en plek in LPZ.</a:t>
            </a:r>
          </a:p>
          <a:p>
            <a:pPr marL="342900" lvl="1" indent="-342900">
              <a:spcBef>
                <a:spcPts val="1000"/>
              </a:spcBef>
            </a:pPr>
            <a:r>
              <a:rPr lang="nl-NL" sz="1800" i="0">
                <a:latin typeface="Barlow Medium" panose="00000600000000000000" pitchFamily="2" charset="0"/>
              </a:rPr>
              <a:t>Nieuwe functionaliteiten LPZ (kaartweergave).</a:t>
            </a:r>
          </a:p>
          <a:p>
            <a:r>
              <a:rPr lang="nl-NL"/>
              <a:t>Verplicht landelijk delen van de capaciteit voor de kindergeneeskunde en neonatologie in LPZ met andere ziekenhuizen. </a:t>
            </a:r>
          </a:p>
          <a:p>
            <a:endParaRPr lang="nl-NL"/>
          </a:p>
        </p:txBody>
      </p:sp>
      <p:sp>
        <p:nvSpPr>
          <p:cNvPr id="4" name="Titel 3">
            <a:extLst>
              <a:ext uri="{FF2B5EF4-FFF2-40B4-BE49-F238E27FC236}">
                <a16:creationId xmlns:a16="http://schemas.microsoft.com/office/drawing/2014/main" id="{CB0A1A81-DC5A-D626-401E-D6204499BCE6}"/>
              </a:ext>
            </a:extLst>
          </p:cNvPr>
          <p:cNvSpPr>
            <a:spLocks noGrp="1"/>
          </p:cNvSpPr>
          <p:nvPr>
            <p:ph type="title"/>
          </p:nvPr>
        </p:nvSpPr>
        <p:spPr/>
        <p:txBody>
          <a:bodyPr>
            <a:normAutofit fontScale="90000"/>
          </a:bodyPr>
          <a:lstStyle/>
          <a:p>
            <a:r>
              <a:rPr lang="nl-NL"/>
              <a:t>Ontwikkeling | Wat is er vernieuwd in dashboards 2.0 ten opzichte van 1.0?</a:t>
            </a:r>
          </a:p>
        </p:txBody>
      </p:sp>
      <p:pic>
        <p:nvPicPr>
          <p:cNvPr id="6146" name="Picture 2" descr="what's new - BW Primary Care">
            <a:extLst>
              <a:ext uri="{FF2B5EF4-FFF2-40B4-BE49-F238E27FC236}">
                <a16:creationId xmlns:a16="http://schemas.microsoft.com/office/drawing/2014/main" id="{BBAD0DE6-7755-3CA2-9A8E-E9507C68ADE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63420" y="4476296"/>
            <a:ext cx="2809009" cy="20959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49446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7158D1-C3FC-CA79-7C8E-7A0E93505FFD}"/>
            </a:ext>
          </a:extLst>
        </p:cNvPr>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1D63AE6A-25E2-89AF-3E1D-F0EA7C4D78B9}"/>
              </a:ext>
            </a:extLst>
          </p:cNvPr>
          <p:cNvSpPr>
            <a:spLocks noGrp="1"/>
          </p:cNvSpPr>
          <p:nvPr>
            <p:ph type="sldNum" sz="quarter" idx="12"/>
          </p:nvPr>
        </p:nvSpPr>
        <p:spPr/>
        <p:txBody>
          <a:bodyPr/>
          <a:lstStyle/>
          <a:p>
            <a:fld id="{69E57DC2-970A-4B3E-BB1C-7A09969E49DF}" type="slidenum">
              <a:rPr lang="nl-NL" smtClean="0"/>
              <a:t>17</a:t>
            </a:fld>
            <a:endParaRPr lang="nl-NL"/>
          </a:p>
        </p:txBody>
      </p:sp>
      <p:sp>
        <p:nvSpPr>
          <p:cNvPr id="3" name="Tijdelijke aanduiding voor inhoud 2">
            <a:extLst>
              <a:ext uri="{FF2B5EF4-FFF2-40B4-BE49-F238E27FC236}">
                <a16:creationId xmlns:a16="http://schemas.microsoft.com/office/drawing/2014/main" id="{AEBD5981-98EF-7201-F829-943F91C36AF3}"/>
              </a:ext>
            </a:extLst>
          </p:cNvPr>
          <p:cNvSpPr>
            <a:spLocks noGrp="1"/>
          </p:cNvSpPr>
          <p:nvPr>
            <p:ph idx="1"/>
          </p:nvPr>
        </p:nvSpPr>
        <p:spPr/>
        <p:txBody>
          <a:bodyPr vert="horz" lIns="91440" tIns="45720" rIns="91440" bIns="45720" rtlCol="0" anchor="t">
            <a:normAutofit fontScale="55000" lnSpcReduction="20000"/>
          </a:bodyPr>
          <a:lstStyle/>
          <a:p>
            <a:pPr>
              <a:lnSpc>
                <a:spcPct val="104000"/>
              </a:lnSpc>
            </a:pPr>
            <a:r>
              <a:rPr lang="nl-NL" sz="2200">
                <a:latin typeface="Barlow" pitchFamily="2" charset="77"/>
              </a:rPr>
              <a:t>Automatische aanlevering van capaciteitsinformatie aan het LPZ</a:t>
            </a:r>
          </a:p>
          <a:p>
            <a:pPr lvl="2"/>
            <a:r>
              <a:rPr lang="nl-NL" sz="2200">
                <a:latin typeface="Barlow" pitchFamily="2" charset="77"/>
              </a:rPr>
              <a:t>Na aansluiting op het LPZ wordt capaciteitsinformatie automatisch (elke 5 minuten) aangeleverd vanuit het EPD van het ziekenhuis.</a:t>
            </a:r>
          </a:p>
          <a:p>
            <a:pPr lvl="2"/>
            <a:r>
              <a:rPr lang="nl-NL" sz="2200">
                <a:latin typeface="Barlow" pitchFamily="2" charset="77"/>
              </a:rPr>
              <a:t>De aansluiting op het LPZ verloopt via de IT-afdeling van het ziekenhuis.</a:t>
            </a:r>
          </a:p>
          <a:p>
            <a:pPr lvl="2"/>
            <a:r>
              <a:rPr lang="nl-NL" sz="2200" b="1">
                <a:latin typeface="Barlow" pitchFamily="2" charset="77"/>
              </a:rPr>
              <a:t>Belangrijk: het EPD moet actueel worden bijgehouden om juiste weergave van capaciteit in het LPZ te borgen</a:t>
            </a:r>
            <a:r>
              <a:rPr lang="nl-NL" sz="2200">
                <a:latin typeface="Barlow" pitchFamily="2" charset="77"/>
              </a:rPr>
              <a:t>.</a:t>
            </a:r>
          </a:p>
          <a:p>
            <a:pPr lvl="2"/>
            <a:r>
              <a:rPr lang="nl-NL" sz="2200" b="1">
                <a:latin typeface="Barlow" pitchFamily="2" charset="77"/>
              </a:rPr>
              <a:t>Belangrijk: </a:t>
            </a:r>
            <a:r>
              <a:rPr lang="nl-NL" sz="2400" b="1">
                <a:latin typeface="Barlow" pitchFamily="2" charset="77"/>
              </a:rPr>
              <a:t>een eventuele </a:t>
            </a:r>
            <a:r>
              <a:rPr lang="nl-NL" sz="2400" b="1"/>
              <a:t>niet beschikbaarheid van apparatuur blijft wel een handmatige actie.</a:t>
            </a:r>
            <a:r>
              <a:rPr lang="en-US" sz="2400" b="1"/>
              <a:t>​</a:t>
            </a:r>
            <a:endParaRPr lang="nl-NL" sz="2200" b="1">
              <a:latin typeface="Barlow" pitchFamily="2" charset="77"/>
            </a:endParaRPr>
          </a:p>
          <a:p>
            <a:r>
              <a:rPr lang="nl-NL" sz="2200">
                <a:latin typeface="Barlow" pitchFamily="2" charset="77"/>
              </a:rPr>
              <a:t>Weergave in het LPZ-dashboard</a:t>
            </a:r>
          </a:p>
          <a:p>
            <a:pPr lvl="2"/>
            <a:r>
              <a:rPr lang="nl-NL" sz="2200">
                <a:latin typeface="Barlow" pitchFamily="2" charset="77"/>
              </a:rPr>
              <a:t>Bedden die in het EPD als bezet, geblokkeerd of gereserveerd staan, worden niet als beschikbaar getoond in het LPZ-dashboard.</a:t>
            </a:r>
          </a:p>
          <a:p>
            <a:pPr lvl="2"/>
            <a:r>
              <a:rPr lang="nl-NL" sz="2200">
                <a:latin typeface="Barlow" pitchFamily="2" charset="77"/>
              </a:rPr>
              <a:t>Definities:</a:t>
            </a:r>
          </a:p>
          <a:p>
            <a:pPr lvl="3" indent="-383540"/>
            <a:r>
              <a:rPr lang="nl-NL" sz="2200">
                <a:latin typeface="Barlow" pitchFamily="2" charset="77"/>
              </a:rPr>
              <a:t>Beschikbaar bed: een bed dat beschikbaar is voor opname van een patiënt  (voorzien van personeel en materiaal).</a:t>
            </a:r>
          </a:p>
          <a:p>
            <a:pPr lvl="3" indent="-383540"/>
            <a:r>
              <a:rPr lang="nl-NL" sz="2200">
                <a:latin typeface="Barlow" pitchFamily="2" charset="77"/>
              </a:rPr>
              <a:t>Bezet bed: een bed dat bezet is door opname van een patiënt.</a:t>
            </a:r>
          </a:p>
          <a:p>
            <a:pPr lvl="3" indent="-383540"/>
            <a:r>
              <a:rPr lang="nl-NL" sz="2200">
                <a:latin typeface="Barlow" pitchFamily="2" charset="77"/>
              </a:rPr>
              <a:t>Gereserveerd bed: een bed dat gereserveerd is voor opname van een patiënt tot 10.00 uur de volgende dag.</a:t>
            </a:r>
          </a:p>
          <a:p>
            <a:pPr lvl="3" indent="-383540"/>
            <a:r>
              <a:rPr lang="nl-NL" sz="2200">
                <a:latin typeface="Barlow" pitchFamily="2" charset="77"/>
              </a:rPr>
              <a:t>Geblokkeerd bed: een bed dat niet beschikbaar is voor opname van een patiënt en niet bezet.</a:t>
            </a:r>
          </a:p>
          <a:p>
            <a:pPr marL="342900" lvl="1" indent="-342900" fontAlgn="base">
              <a:spcBef>
                <a:spcPts val="1000"/>
              </a:spcBef>
            </a:pPr>
            <a:r>
              <a:rPr lang="nl-NL" altLang="nl-NL" sz="2200" i="0">
                <a:latin typeface="Barlow" pitchFamily="2" charset="77"/>
              </a:rPr>
              <a:t>Dubbel labelen</a:t>
            </a:r>
          </a:p>
          <a:p>
            <a:pPr lvl="2"/>
            <a:r>
              <a:rPr lang="nl-NL" sz="2200">
                <a:latin typeface="Barlow" pitchFamily="2" charset="77"/>
              </a:rPr>
              <a:t>Indien een bed zowel voor een kind als een neonaat kan worden gebruikt, kan het bed twee labels krijgen:</a:t>
            </a:r>
          </a:p>
          <a:p>
            <a:pPr lvl="3" indent="-383540"/>
            <a:r>
              <a:rPr lang="nl-NL" sz="2200" i="1">
                <a:latin typeface="Barlow" pitchFamily="2" charset="77"/>
              </a:rPr>
              <a:t>Bed neonaat</a:t>
            </a:r>
            <a:r>
              <a:rPr lang="nl-NL" sz="2200">
                <a:latin typeface="Barlow" pitchFamily="2" charset="77"/>
              </a:rPr>
              <a:t> én </a:t>
            </a:r>
            <a:r>
              <a:rPr lang="nl-NL" sz="2200" i="1">
                <a:latin typeface="Barlow" pitchFamily="2" charset="77"/>
              </a:rPr>
              <a:t>bed kind</a:t>
            </a:r>
            <a:r>
              <a:rPr lang="nl-NL" sz="2200">
                <a:latin typeface="Barlow" pitchFamily="2" charset="77"/>
              </a:rPr>
              <a:t> (met daarbij de kamertypologie: kamer of zaal).</a:t>
            </a:r>
          </a:p>
          <a:p>
            <a:pPr lvl="2"/>
            <a:r>
              <a:rPr lang="nl-NL" sz="2200">
                <a:latin typeface="Barlow" pitchFamily="2" charset="77"/>
              </a:rPr>
              <a:t>Dit bed wordt dan getoond bij de beschikbaarheid op beide dashboards (kindergeneeskunde en neonatologie).</a:t>
            </a:r>
          </a:p>
          <a:p>
            <a:pPr lvl="2"/>
            <a:r>
              <a:rPr lang="nl-NL" sz="2200">
                <a:latin typeface="Barlow" pitchFamily="2" charset="77"/>
              </a:rPr>
              <a:t>Bij geen beschikbaarheid wordt het bed op beide dashboards niet getoond.</a:t>
            </a:r>
          </a:p>
          <a:p>
            <a:pPr lvl="2"/>
            <a:r>
              <a:rPr lang="nl-NL" sz="2400" b="1"/>
              <a:t>Let op: Een bed kan ook andere (zoveel als wenselijk) labels krijgen, bijvoorbeeld </a:t>
            </a:r>
            <a:r>
              <a:rPr lang="nl-NL" sz="2400" b="1" err="1"/>
              <a:t>geboortezorglabels</a:t>
            </a:r>
            <a:r>
              <a:rPr lang="nl-NL" sz="2400" b="1"/>
              <a:t>. Voor het tonen van beschikbaarheid geldt hetzelfde principe als hierboven.</a:t>
            </a:r>
            <a:endParaRPr lang="nl-NL" sz="2200" b="1">
              <a:latin typeface="Barlow" pitchFamily="2" charset="77"/>
            </a:endParaRPr>
          </a:p>
          <a:p>
            <a:pPr marL="342900" lvl="1" indent="-342900" fontAlgn="base">
              <a:spcBef>
                <a:spcPts val="1000"/>
              </a:spcBef>
            </a:pPr>
            <a:endParaRPr lang="nl-NL" altLang="nl-NL" sz="1800" i="0">
              <a:latin typeface="Barlow Medium" panose="00000600000000000000" pitchFamily="2" charset="0"/>
            </a:endParaRPr>
          </a:p>
          <a:p>
            <a:endParaRPr lang="nl-NL"/>
          </a:p>
        </p:txBody>
      </p:sp>
      <p:sp>
        <p:nvSpPr>
          <p:cNvPr id="4" name="Titel 3">
            <a:extLst>
              <a:ext uri="{FF2B5EF4-FFF2-40B4-BE49-F238E27FC236}">
                <a16:creationId xmlns:a16="http://schemas.microsoft.com/office/drawing/2014/main" id="{0912CCD2-2F01-54E0-9E6E-313EEC1CB217}"/>
              </a:ext>
            </a:extLst>
          </p:cNvPr>
          <p:cNvSpPr>
            <a:spLocks noGrp="1"/>
          </p:cNvSpPr>
          <p:nvPr>
            <p:ph type="title"/>
          </p:nvPr>
        </p:nvSpPr>
        <p:spPr>
          <a:xfrm>
            <a:off x="1371599" y="285751"/>
            <a:ext cx="9677401" cy="468883"/>
          </a:xfrm>
        </p:spPr>
        <p:txBody>
          <a:bodyPr>
            <a:normAutofit fontScale="90000"/>
          </a:bodyPr>
          <a:lstStyle/>
          <a:p>
            <a:r>
              <a:rPr lang="nl-NL"/>
              <a:t>Ontwikkeling | Hoe wordt capaciteitsinformatie aangeleverd?</a:t>
            </a:r>
          </a:p>
        </p:txBody>
      </p:sp>
    </p:spTree>
    <p:extLst>
      <p:ext uri="{BB962C8B-B14F-4D97-AF65-F5344CB8AC3E}">
        <p14:creationId xmlns:p14="http://schemas.microsoft.com/office/powerpoint/2010/main" val="150974876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39226B57-5248-9254-014D-BFE33A59B540}"/>
              </a:ext>
            </a:extLst>
          </p:cNvPr>
          <p:cNvSpPr>
            <a:spLocks noGrp="1"/>
          </p:cNvSpPr>
          <p:nvPr>
            <p:ph type="sldNum" sz="quarter" idx="12"/>
          </p:nvPr>
        </p:nvSpPr>
        <p:spPr/>
        <p:txBody>
          <a:bodyPr/>
          <a:lstStyle/>
          <a:p>
            <a:fld id="{69E57DC2-970A-4B3E-BB1C-7A09969E49DF}" type="slidenum">
              <a:rPr lang="nl-NL" smtClean="0"/>
              <a:t>18</a:t>
            </a:fld>
            <a:endParaRPr lang="nl-NL"/>
          </a:p>
        </p:txBody>
      </p:sp>
      <p:sp>
        <p:nvSpPr>
          <p:cNvPr id="4" name="Titel 3">
            <a:extLst>
              <a:ext uri="{FF2B5EF4-FFF2-40B4-BE49-F238E27FC236}">
                <a16:creationId xmlns:a16="http://schemas.microsoft.com/office/drawing/2014/main" id="{01C561A1-CE2B-823E-C48A-AA3F5E206411}"/>
              </a:ext>
            </a:extLst>
          </p:cNvPr>
          <p:cNvSpPr>
            <a:spLocks noGrp="1"/>
          </p:cNvSpPr>
          <p:nvPr>
            <p:ph type="title"/>
          </p:nvPr>
        </p:nvSpPr>
        <p:spPr>
          <a:xfrm>
            <a:off x="1371599" y="285751"/>
            <a:ext cx="9153526" cy="468883"/>
          </a:xfrm>
        </p:spPr>
        <p:txBody>
          <a:bodyPr>
            <a:normAutofit fontScale="90000"/>
          </a:bodyPr>
          <a:lstStyle/>
          <a:p>
            <a:r>
              <a:rPr lang="nl-NL"/>
              <a:t>(Live) demo dashboards kindergeneeskunde en neonatologie </a:t>
            </a:r>
          </a:p>
        </p:txBody>
      </p:sp>
      <p:sp>
        <p:nvSpPr>
          <p:cNvPr id="9" name="Tijdelijke aanduiding voor inhoud 2">
            <a:extLst>
              <a:ext uri="{FF2B5EF4-FFF2-40B4-BE49-F238E27FC236}">
                <a16:creationId xmlns:a16="http://schemas.microsoft.com/office/drawing/2014/main" id="{3BFCBF2C-37D7-98C0-F758-2DD0624C04FA}"/>
              </a:ext>
            </a:extLst>
          </p:cNvPr>
          <p:cNvSpPr>
            <a:spLocks noGrp="1"/>
          </p:cNvSpPr>
          <p:nvPr>
            <p:ph idx="1"/>
          </p:nvPr>
        </p:nvSpPr>
        <p:spPr>
          <a:xfrm>
            <a:off x="1371600" y="1304924"/>
            <a:ext cx="9946257" cy="5000985"/>
          </a:xfrm>
        </p:spPr>
        <p:txBody>
          <a:bodyPr/>
          <a:lstStyle/>
          <a:p>
            <a:r>
              <a:rPr lang="nl-NL" sz="1400"/>
              <a:t>Klik hier om een kijkje te nemen op het dashboard van de kindergeneeskunde 2.0 in LPZ (het neonatologie dashboard 2.0 is nagenoeg vergelijkbaar): </a:t>
            </a:r>
            <a:r>
              <a:rPr lang="nl-NL" altLang="nl-NL" sz="1400" u="sng">
                <a:solidFill>
                  <a:srgbClr val="00B050"/>
                </a:solidFill>
                <a:latin typeface="Aptos" panose="020B0004020202020204" pitchFamily="34" charset="0"/>
                <a:hlinkClick r:id="rId3" tooltip="https://www.figma.com/proto/Y1dCXyeZNowZNWejnx67fi/LPZ---Demo-Kindergeneeskunde-2.0?page-id=132%3A8591&amp;node-id=132-9426&amp;viewport=238%2C191%2C0.09&amp;t=JEBt7pvaHfFRomBs-1&amp;scaling=min-zoom&amp;content-scaling=fixed&amp;starting-point-node-id=132%3A9426">
                  <a:extLst>
                    <a:ext uri="{A12FA001-AC4F-418D-AE19-62706E023703}">
                      <ahyp:hlinkClr xmlns:ahyp="http://schemas.microsoft.com/office/drawing/2018/hyperlinkcolor" val="tx"/>
                    </a:ext>
                  </a:extLst>
                </a:hlinkClick>
              </a:rPr>
              <a:t>LPZ -</a:t>
            </a:r>
            <a:r>
              <a:rPr lang="nl-NL" altLang="nl-NL" sz="1400">
                <a:solidFill>
                  <a:srgbClr val="00B050"/>
                </a:solidFill>
                <a:latin typeface="Aptos" panose="020B0004020202020204" pitchFamily="34" charset="0"/>
                <a:hlinkClick r:id="rId3" tooltip="https://www.figma.com/proto/Y1dCXyeZNowZNWejnx67fi/LPZ---Demo-Kindergeneeskunde-2.0?page-id=132%3A8591&amp;node-id=132-9426&amp;viewport=238%2C191%2C0.09&amp;t=JEBt7pvaHfFRomBs-1&amp;scaling=min-zoom&amp;content-scaling=fixed&amp;starting-point-node-id=132%3A9426">
                  <a:extLst>
                    <a:ext uri="{A12FA001-AC4F-418D-AE19-62706E023703}">
                      <ahyp:hlinkClr xmlns:ahyp="http://schemas.microsoft.com/office/drawing/2018/hyperlinkcolor" val="tx"/>
                    </a:ext>
                  </a:extLst>
                </a:hlinkClick>
              </a:rPr>
              <a:t> </a:t>
            </a:r>
            <a:r>
              <a:rPr lang="nl-NL" altLang="nl-NL" sz="1400" u="sng">
                <a:solidFill>
                  <a:srgbClr val="00B050"/>
                </a:solidFill>
                <a:latin typeface="Aptos" panose="020B0004020202020204" pitchFamily="34" charset="0"/>
                <a:hlinkClick r:id="rId3" tooltip="https://www.figma.com/proto/Y1dCXyeZNowZNWejnx67fi/LPZ---Demo-Kindergeneeskunde-2.0?page-id=132%3A8591&amp;node-id=132-9426&amp;viewport=238%2C191%2C0.09&amp;t=JEBt7pvaHfFRomBs-1&amp;scaling=min-zoom&amp;content-scaling=fixed&amp;starting-point-node-id=132%3A9426">
                  <a:extLst>
                    <a:ext uri="{A12FA001-AC4F-418D-AE19-62706E023703}">
                      <ahyp:hlinkClr xmlns:ahyp="http://schemas.microsoft.com/office/drawing/2018/hyperlinkcolor" val="tx"/>
                    </a:ext>
                  </a:extLst>
                </a:hlinkClick>
              </a:rPr>
              <a:t>demo</a:t>
            </a:r>
            <a:r>
              <a:rPr lang="nl-NL" altLang="nl-NL" sz="1400">
                <a:solidFill>
                  <a:srgbClr val="00B050"/>
                </a:solidFill>
                <a:latin typeface="Aptos" panose="020B0004020202020204" pitchFamily="34" charset="0"/>
                <a:hlinkClick r:id="rId3" tooltip="https://www.figma.com/proto/Y1dCXyeZNowZNWejnx67fi/LPZ---Demo-Kindergeneeskunde-2.0?page-id=132%3A8591&amp;node-id=132-9426&amp;viewport=238%2C191%2C0.09&amp;t=JEBt7pvaHfFRomBs-1&amp;scaling=min-zoom&amp;content-scaling=fixed&amp;starting-point-node-id=132%3A9426">
                  <a:extLst>
                    <a:ext uri="{A12FA001-AC4F-418D-AE19-62706E023703}">
                      <ahyp:hlinkClr xmlns:ahyp="http://schemas.microsoft.com/office/drawing/2018/hyperlinkcolor" val="tx"/>
                    </a:ext>
                  </a:extLst>
                </a:hlinkClick>
              </a:rPr>
              <a:t> </a:t>
            </a:r>
            <a:r>
              <a:rPr lang="nl-NL" altLang="nl-NL" sz="1400" u="sng">
                <a:solidFill>
                  <a:srgbClr val="00B050"/>
                </a:solidFill>
                <a:latin typeface="Aptos" panose="020B0004020202020204" pitchFamily="34" charset="0"/>
                <a:hlinkClick r:id="rId3" tooltip="https://www.figma.com/proto/Y1dCXyeZNowZNWejnx67fi/LPZ---Demo-Kindergeneeskunde-2.0?page-id=132%3A8591&amp;node-id=132-9426&amp;viewport=238%2C191%2C0.09&amp;t=JEBt7pvaHfFRomBs-1&amp;scaling=min-zoom&amp;content-scaling=fixed&amp;starting-point-node-id=132%3A9426">
                  <a:extLst>
                    <a:ext uri="{A12FA001-AC4F-418D-AE19-62706E023703}">
                      <ahyp:hlinkClr xmlns:ahyp="http://schemas.microsoft.com/office/drawing/2018/hyperlinkcolor" val="tx"/>
                    </a:ext>
                  </a:extLst>
                </a:hlinkClick>
              </a:rPr>
              <a:t>kindergeneeskunde</a:t>
            </a:r>
            <a:endParaRPr lang="nl-NL" sz="1400"/>
          </a:p>
          <a:p>
            <a:r>
              <a:rPr lang="nl-NL" sz="1400"/>
              <a:t>De dashboards kindergeneeskunde en neonatologie kennen ieder twee hoofdfunctionaliteiten:</a:t>
            </a:r>
          </a:p>
          <a:p>
            <a:pPr lvl="2"/>
            <a:r>
              <a:rPr lang="nl-NL" sz="1400"/>
              <a:t>De overzichtsweergave (1): is ontwikkeld om inzicht te geven in de stand van zaken t.a.v. capaciteit van de favoriete ziekenhuizen </a:t>
            </a:r>
          </a:p>
          <a:p>
            <a:pPr lvl="2"/>
            <a:r>
              <a:rPr lang="nl-NL" sz="1400"/>
              <a:t>De kaartweergave (2): kan gebruikt worden om te zoeken naar beschikbare capaciteit op basis van een specifieke zoekopdracht. </a:t>
            </a:r>
          </a:p>
          <a:p>
            <a:pPr lvl="3"/>
            <a:r>
              <a:rPr lang="nl-NL" sz="1200"/>
              <a:t>Contacttypes kindergeneeskunde: Dienstdoende kinderarts en Arts-assistent kindergeneeskunde. </a:t>
            </a:r>
          </a:p>
          <a:p>
            <a:pPr lvl="3"/>
            <a:r>
              <a:rPr lang="nl-NL" sz="1200"/>
              <a:t>Contacttypes neonatologie: Dienstdoende neonatoloog en Arts-assistent neonatologie.</a:t>
            </a:r>
          </a:p>
        </p:txBody>
      </p:sp>
      <p:pic>
        <p:nvPicPr>
          <p:cNvPr id="10" name="Afbeelding 9" descr="Afbeelding met tekst, schermopname, nummer, software&#10;&#10;Door AI gegenereerde inhoud is mogelijk onjuist.">
            <a:extLst>
              <a:ext uri="{FF2B5EF4-FFF2-40B4-BE49-F238E27FC236}">
                <a16:creationId xmlns:a16="http://schemas.microsoft.com/office/drawing/2014/main" id="{B617400C-01CA-6192-74AE-B2B80889A15D}"/>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3740" t="7437" r="3730" b="5194"/>
          <a:stretch>
            <a:fillRect/>
          </a:stretch>
        </p:blipFill>
        <p:spPr bwMode="auto">
          <a:xfrm>
            <a:off x="1597514" y="3657600"/>
            <a:ext cx="4142782" cy="2914649"/>
          </a:xfrm>
          <a:prstGeom prst="rect">
            <a:avLst/>
          </a:prstGeom>
          <a:ln>
            <a:noFill/>
          </a:ln>
          <a:extLst>
            <a:ext uri="{53640926-AAD7-44D8-BBD7-CCE9431645EC}">
              <a14:shadowObscured xmlns:a14="http://schemas.microsoft.com/office/drawing/2010/main"/>
            </a:ext>
          </a:extLst>
        </p:spPr>
      </p:pic>
      <p:pic>
        <p:nvPicPr>
          <p:cNvPr id="11" name="Afbeelding 10" descr="Afbeelding met tekst, kaart, atlas, schermopname&#10;&#10;Door AI gegenereerde inhoud is mogelijk onjuist.">
            <a:extLst>
              <a:ext uri="{FF2B5EF4-FFF2-40B4-BE49-F238E27FC236}">
                <a16:creationId xmlns:a16="http://schemas.microsoft.com/office/drawing/2014/main" id="{8D9861F6-5E28-89A5-6568-EBFE97F4E48D}"/>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4016" t="5948" r="3283" b="5539"/>
          <a:stretch>
            <a:fillRect/>
          </a:stretch>
        </p:blipFill>
        <p:spPr bwMode="auto">
          <a:xfrm>
            <a:off x="6696075" y="3733104"/>
            <a:ext cx="3990531" cy="2839145"/>
          </a:xfrm>
          <a:prstGeom prst="rect">
            <a:avLst/>
          </a:prstGeom>
          <a:ln>
            <a:noFill/>
          </a:ln>
          <a:extLst>
            <a:ext uri="{53640926-AAD7-44D8-BBD7-CCE9431645EC}">
              <a14:shadowObscured xmlns:a14="http://schemas.microsoft.com/office/drawing/2010/main"/>
            </a:ext>
          </a:extLst>
        </p:spPr>
      </p:pic>
      <p:sp>
        <p:nvSpPr>
          <p:cNvPr id="12" name="Tekstvak 11">
            <a:extLst>
              <a:ext uri="{FF2B5EF4-FFF2-40B4-BE49-F238E27FC236}">
                <a16:creationId xmlns:a16="http://schemas.microsoft.com/office/drawing/2014/main" id="{D5C59216-08AE-162D-BDDB-9D928466C5DC}"/>
              </a:ext>
            </a:extLst>
          </p:cNvPr>
          <p:cNvSpPr txBox="1"/>
          <p:nvPr/>
        </p:nvSpPr>
        <p:spPr>
          <a:xfrm>
            <a:off x="1847850" y="6096000"/>
            <a:ext cx="361950" cy="369332"/>
          </a:xfrm>
          <a:prstGeom prst="rect">
            <a:avLst/>
          </a:prstGeom>
          <a:noFill/>
        </p:spPr>
        <p:txBody>
          <a:bodyPr wrap="square" rtlCol="0">
            <a:spAutoFit/>
          </a:bodyPr>
          <a:lstStyle/>
          <a:p>
            <a:r>
              <a:rPr lang="nl-NL"/>
              <a:t>1</a:t>
            </a:r>
          </a:p>
        </p:txBody>
      </p:sp>
      <p:sp>
        <p:nvSpPr>
          <p:cNvPr id="13" name="Tekstvak 12">
            <a:extLst>
              <a:ext uri="{FF2B5EF4-FFF2-40B4-BE49-F238E27FC236}">
                <a16:creationId xmlns:a16="http://schemas.microsoft.com/office/drawing/2014/main" id="{975480B2-49B9-1D96-169E-14B3506A23B6}"/>
              </a:ext>
            </a:extLst>
          </p:cNvPr>
          <p:cNvSpPr txBox="1"/>
          <p:nvPr/>
        </p:nvSpPr>
        <p:spPr>
          <a:xfrm>
            <a:off x="10163175" y="6073963"/>
            <a:ext cx="361950" cy="369332"/>
          </a:xfrm>
          <a:prstGeom prst="rect">
            <a:avLst/>
          </a:prstGeom>
          <a:noFill/>
        </p:spPr>
        <p:txBody>
          <a:bodyPr wrap="square" rtlCol="0">
            <a:spAutoFit/>
          </a:bodyPr>
          <a:lstStyle/>
          <a:p>
            <a:r>
              <a:rPr lang="nl-NL"/>
              <a:t>2</a:t>
            </a:r>
          </a:p>
        </p:txBody>
      </p:sp>
    </p:spTree>
    <p:extLst>
      <p:ext uri="{BB962C8B-B14F-4D97-AF65-F5344CB8AC3E}">
        <p14:creationId xmlns:p14="http://schemas.microsoft.com/office/powerpoint/2010/main" val="24376410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F1A516FF-C248-CD54-1077-8FE9845EC1CD}"/>
              </a:ext>
            </a:extLst>
          </p:cNvPr>
          <p:cNvSpPr>
            <a:spLocks noGrp="1"/>
          </p:cNvSpPr>
          <p:nvPr>
            <p:ph type="sldNum" sz="quarter" idx="12"/>
          </p:nvPr>
        </p:nvSpPr>
        <p:spPr/>
        <p:txBody>
          <a:bodyPr/>
          <a:lstStyle/>
          <a:p>
            <a:fld id="{69E57DC2-970A-4B3E-BB1C-7A09969E49DF}" type="slidenum">
              <a:rPr lang="nl-NL" smtClean="0"/>
              <a:t>19</a:t>
            </a:fld>
            <a:endParaRPr lang="nl-NL"/>
          </a:p>
        </p:txBody>
      </p:sp>
      <p:graphicFrame>
        <p:nvGraphicFramePr>
          <p:cNvPr id="5" name="Tijdelijke aanduiding voor inhoud 4">
            <a:extLst>
              <a:ext uri="{FF2B5EF4-FFF2-40B4-BE49-F238E27FC236}">
                <a16:creationId xmlns:a16="http://schemas.microsoft.com/office/drawing/2014/main" id="{D63F1115-80AC-F80B-27AA-974C5D33890A}"/>
              </a:ext>
            </a:extLst>
          </p:cNvPr>
          <p:cNvGraphicFramePr>
            <a:graphicFrameLocks noGrp="1"/>
          </p:cNvGraphicFramePr>
          <p:nvPr>
            <p:ph idx="1"/>
            <p:extLst>
              <p:ext uri="{D42A27DB-BD31-4B8C-83A1-F6EECF244321}">
                <p14:modId xmlns:p14="http://schemas.microsoft.com/office/powerpoint/2010/main" val="4214334863"/>
              </p:ext>
            </p:extLst>
          </p:nvPr>
        </p:nvGraphicFramePr>
        <p:xfrm>
          <a:off x="436078" y="2002826"/>
          <a:ext cx="11180778" cy="392794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el 3">
            <a:extLst>
              <a:ext uri="{FF2B5EF4-FFF2-40B4-BE49-F238E27FC236}">
                <a16:creationId xmlns:a16="http://schemas.microsoft.com/office/drawing/2014/main" id="{62124118-2ABF-7C2B-C6D7-55C3C2F66F5C}"/>
              </a:ext>
            </a:extLst>
          </p:cNvPr>
          <p:cNvSpPr>
            <a:spLocks noGrp="1"/>
          </p:cNvSpPr>
          <p:nvPr>
            <p:ph type="title"/>
          </p:nvPr>
        </p:nvSpPr>
        <p:spPr>
          <a:xfrm>
            <a:off x="1272539" y="304801"/>
            <a:ext cx="9126520" cy="468883"/>
          </a:xfrm>
        </p:spPr>
        <p:txBody>
          <a:bodyPr>
            <a:normAutofit fontScale="90000"/>
          </a:bodyPr>
          <a:lstStyle/>
          <a:p>
            <a:r>
              <a:rPr lang="nl-NL"/>
              <a:t>Implementatieperiode | Van ontwikkeling naar implementatie</a:t>
            </a:r>
          </a:p>
        </p:txBody>
      </p:sp>
      <p:sp>
        <p:nvSpPr>
          <p:cNvPr id="4" name="Tekstvak 3">
            <a:extLst>
              <a:ext uri="{FF2B5EF4-FFF2-40B4-BE49-F238E27FC236}">
                <a16:creationId xmlns:a16="http://schemas.microsoft.com/office/drawing/2014/main" id="{2D051663-F9FA-EB70-9C4F-6FFCB7711FC5}"/>
              </a:ext>
            </a:extLst>
          </p:cNvPr>
          <p:cNvSpPr txBox="1"/>
          <p:nvPr/>
        </p:nvSpPr>
        <p:spPr>
          <a:xfrm>
            <a:off x="436078" y="5561439"/>
            <a:ext cx="9946256" cy="369332"/>
          </a:xfrm>
          <a:prstGeom prst="rect">
            <a:avLst/>
          </a:prstGeom>
          <a:noFill/>
        </p:spPr>
        <p:txBody>
          <a:bodyPr wrap="square" rtlCol="0">
            <a:spAutoFit/>
          </a:bodyPr>
          <a:lstStyle/>
          <a:p>
            <a:r>
              <a:rPr lang="nl-NL" kern="100">
                <a:solidFill>
                  <a:srgbClr val="1D5886"/>
                </a:solidFill>
                <a:latin typeface="Aptos" panose="020B0004020202020204" pitchFamily="34" charset="0"/>
                <a:cs typeface="Arial" panose="020B0604020202020204" pitchFamily="34" charset="0"/>
              </a:rPr>
              <a:t>*Besluit projectgroep: Tot 8 april blijven alle ziekenhuizen </a:t>
            </a:r>
            <a:r>
              <a:rPr lang="nl-NL" b="1" i="1" err="1">
                <a:solidFill>
                  <a:srgbClr val="0070C0"/>
                </a:solidFill>
                <a:latin typeface="Barlow" pitchFamily="2" charset="77"/>
              </a:rPr>
              <a:t>kindzoektbed</a:t>
            </a:r>
            <a:r>
              <a:rPr lang="nl-NL" kern="100">
                <a:solidFill>
                  <a:srgbClr val="1D5886"/>
                </a:solidFill>
                <a:latin typeface="Aptos" panose="020B0004020202020204" pitchFamily="34" charset="0"/>
                <a:cs typeface="Arial" panose="020B0604020202020204" pitchFamily="34" charset="0"/>
              </a:rPr>
              <a:t> invullen en gebruiken</a:t>
            </a:r>
          </a:p>
        </p:txBody>
      </p:sp>
      <p:sp>
        <p:nvSpPr>
          <p:cNvPr id="6" name="Tijdelijke aanduiding voor inhoud 2">
            <a:extLst>
              <a:ext uri="{FF2B5EF4-FFF2-40B4-BE49-F238E27FC236}">
                <a16:creationId xmlns:a16="http://schemas.microsoft.com/office/drawing/2014/main" id="{C683CDAD-B2D3-F155-898D-47F6A3CCFBB8}"/>
              </a:ext>
            </a:extLst>
          </p:cNvPr>
          <p:cNvSpPr txBox="1">
            <a:spLocks/>
          </p:cNvSpPr>
          <p:nvPr/>
        </p:nvSpPr>
        <p:spPr>
          <a:xfrm>
            <a:off x="1371600" y="1304924"/>
            <a:ext cx="9946257" cy="5000985"/>
          </a:xfrm>
          <a:prstGeom prst="rect">
            <a:avLst/>
          </a:prstGeom>
        </p:spPr>
        <p:txBody>
          <a:bodyPr vert="horz" lIns="91440" tIns="45720" rIns="91440" bIns="45720" rtlCol="0">
            <a:normAutofit/>
          </a:bodyPr>
          <a:lstStyle>
            <a:lvl1pPr marL="342900" indent="-342900" algn="l" defTabSz="914400" rtl="0" eaLnBrk="1" latinLnBrk="0" hangingPunct="1">
              <a:lnSpc>
                <a:spcPct val="94000"/>
              </a:lnSpc>
              <a:spcBef>
                <a:spcPts val="1000"/>
              </a:spcBef>
              <a:spcAft>
                <a:spcPts val="200"/>
              </a:spcAft>
              <a:buClr>
                <a:srgbClr val="A2C7E2"/>
              </a:buClr>
              <a:buSzPct val="80000"/>
              <a:buFont typeface="Wingdings" panose="05000000000000000000" pitchFamily="2" charset="2"/>
              <a:buChar char="§"/>
              <a:defRPr sz="1800" kern="1200" baseline="0">
                <a:solidFill>
                  <a:srgbClr val="1D5886"/>
                </a:solidFill>
                <a:latin typeface="Barlow Medium" panose="00000600000000000000" pitchFamily="2" charset="0"/>
                <a:ea typeface="+mn-ea"/>
                <a:cs typeface="+mn-cs"/>
              </a:defRPr>
            </a:lvl1pPr>
            <a:lvl2pPr marL="355600" indent="-355600" algn="l" defTabSz="914400" rtl="0" eaLnBrk="1" latinLnBrk="0" hangingPunct="1">
              <a:lnSpc>
                <a:spcPct val="94000"/>
              </a:lnSpc>
              <a:spcBef>
                <a:spcPts val="500"/>
              </a:spcBef>
              <a:spcAft>
                <a:spcPts val="200"/>
              </a:spcAft>
              <a:buClr>
                <a:srgbClr val="A2C7E2"/>
              </a:buClr>
              <a:buSzPct val="80000"/>
              <a:buFont typeface="Wingdings" panose="05000000000000000000" pitchFamily="2" charset="2"/>
              <a:buChar char="§"/>
              <a:defRPr sz="2000" i="1" kern="1200" baseline="0">
                <a:solidFill>
                  <a:srgbClr val="1D5886"/>
                </a:solidFill>
                <a:latin typeface="Barlow" panose="00000500000000000000" pitchFamily="2" charset="0"/>
                <a:ea typeface="+mn-ea"/>
                <a:cs typeface="+mn-cs"/>
              </a:defRPr>
            </a:lvl2pPr>
            <a:lvl3pPr marL="1076325" indent="-361950" algn="l" defTabSz="914400" rtl="0" eaLnBrk="1" latinLnBrk="0" hangingPunct="1">
              <a:lnSpc>
                <a:spcPct val="94000"/>
              </a:lnSpc>
              <a:spcBef>
                <a:spcPts val="500"/>
              </a:spcBef>
              <a:spcAft>
                <a:spcPts val="200"/>
              </a:spcAft>
              <a:buClr>
                <a:srgbClr val="A2C7E2"/>
              </a:buClr>
              <a:buSzPct val="80000"/>
              <a:buFont typeface="Wingdings" panose="05000000000000000000" pitchFamily="2" charset="2"/>
              <a:buChar char="§"/>
              <a:defRPr sz="1800" kern="1200" baseline="0">
                <a:solidFill>
                  <a:srgbClr val="1D5886"/>
                </a:solidFill>
                <a:latin typeface="Barlow" panose="00000500000000000000" pitchFamily="2" charset="0"/>
                <a:ea typeface="+mn-ea"/>
                <a:cs typeface="+mn-cs"/>
              </a:defRPr>
            </a:lvl3pPr>
            <a:lvl4pPr marL="1828800" indent="-384048" algn="l" defTabSz="914400" rtl="0" eaLnBrk="1" latinLnBrk="0" hangingPunct="1">
              <a:lnSpc>
                <a:spcPct val="94000"/>
              </a:lnSpc>
              <a:spcBef>
                <a:spcPts val="500"/>
              </a:spcBef>
              <a:spcAft>
                <a:spcPts val="200"/>
              </a:spcAft>
              <a:buClr>
                <a:srgbClr val="A2C7E2"/>
              </a:buClr>
              <a:buSzPct val="80000"/>
              <a:buFont typeface="Wingdings" panose="05000000000000000000" pitchFamily="2" charset="2"/>
              <a:buChar char="§"/>
              <a:defRPr sz="1600" i="1" kern="1200" baseline="0">
                <a:solidFill>
                  <a:srgbClr val="1D5886"/>
                </a:solidFill>
                <a:latin typeface="Barlow" panose="00000500000000000000" pitchFamily="2" charset="0"/>
                <a:ea typeface="+mn-ea"/>
                <a:cs typeface="+mn-cs"/>
              </a:defRPr>
            </a:lvl4pPr>
            <a:lvl5pPr marL="2514600" indent="-361950" algn="l" defTabSz="914400" rtl="0" eaLnBrk="1" latinLnBrk="0" hangingPunct="1">
              <a:lnSpc>
                <a:spcPct val="94000"/>
              </a:lnSpc>
              <a:spcBef>
                <a:spcPts val="500"/>
              </a:spcBef>
              <a:spcAft>
                <a:spcPts val="200"/>
              </a:spcAft>
              <a:buClr>
                <a:srgbClr val="A2C7E2"/>
              </a:buClr>
              <a:buSzPct val="80000"/>
              <a:buFont typeface="Wingdings" panose="05000000000000000000" pitchFamily="2" charset="2"/>
              <a:buChar char="§"/>
              <a:defRPr sz="1600" kern="1200" baseline="0">
                <a:solidFill>
                  <a:srgbClr val="1D5886"/>
                </a:solidFill>
                <a:latin typeface="Barlow" panose="00000500000000000000" pitchFamily="2" charset="0"/>
                <a:ea typeface="+mn-ea"/>
                <a:cs typeface="+mn-cs"/>
              </a:defRPr>
            </a:lvl5pPr>
            <a:lvl6pPr marL="27432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i="1" kern="1200" baseline="0">
                <a:solidFill>
                  <a:schemeClr val="tx2"/>
                </a:solidFill>
                <a:latin typeface="+mn-lt"/>
                <a:ea typeface="+mn-ea"/>
                <a:cs typeface="+mn-cs"/>
              </a:defRPr>
            </a:lvl6pPr>
            <a:lvl7pPr marL="3200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7pPr>
            <a:lvl8pPr marL="3657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i="1" kern="1200" baseline="0">
                <a:solidFill>
                  <a:schemeClr val="tx2"/>
                </a:solidFill>
                <a:latin typeface="+mn-lt"/>
                <a:ea typeface="+mn-ea"/>
                <a:cs typeface="+mn-cs"/>
              </a:defRPr>
            </a:lvl8pPr>
            <a:lvl9pPr marL="4114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9pPr>
          </a:lstStyle>
          <a:p>
            <a:r>
              <a:rPr lang="nl-NL"/>
              <a:t>Voorbereidingsfase per september 2025 al gestart in de ROAZ-regio’s</a:t>
            </a:r>
          </a:p>
          <a:p>
            <a:r>
              <a:rPr lang="nl-NL" b="1"/>
              <a:t>Start implementatiefase per 7 januari 2026</a:t>
            </a:r>
          </a:p>
        </p:txBody>
      </p:sp>
    </p:spTree>
    <p:extLst>
      <p:ext uri="{BB962C8B-B14F-4D97-AF65-F5344CB8AC3E}">
        <p14:creationId xmlns:p14="http://schemas.microsoft.com/office/powerpoint/2010/main" val="3838179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CE5548-DAA3-C073-C24E-FF8E77EA8166}"/>
            </a:ext>
          </a:extLst>
        </p:cNvPr>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B09C1F1C-FA18-5555-AE6E-04A75912F1CD}"/>
              </a:ext>
            </a:extLst>
          </p:cNvPr>
          <p:cNvSpPr>
            <a:spLocks noGrp="1"/>
          </p:cNvSpPr>
          <p:nvPr>
            <p:ph type="sldNum" sz="quarter" idx="12"/>
          </p:nvPr>
        </p:nvSpPr>
        <p:spPr/>
        <p:txBody>
          <a:bodyPr/>
          <a:lstStyle/>
          <a:p>
            <a:fld id="{69E57DC2-970A-4B3E-BB1C-7A09969E49DF}" type="slidenum">
              <a:rPr lang="nl-NL" smtClean="0"/>
              <a:t>2</a:t>
            </a:fld>
            <a:endParaRPr lang="nl-NL"/>
          </a:p>
        </p:txBody>
      </p:sp>
      <p:sp>
        <p:nvSpPr>
          <p:cNvPr id="3" name="Tijdelijke aanduiding voor inhoud 2">
            <a:extLst>
              <a:ext uri="{FF2B5EF4-FFF2-40B4-BE49-F238E27FC236}">
                <a16:creationId xmlns:a16="http://schemas.microsoft.com/office/drawing/2014/main" id="{03C52539-7504-3F7B-E73E-74B0EDA146AF}"/>
              </a:ext>
            </a:extLst>
          </p:cNvPr>
          <p:cNvSpPr>
            <a:spLocks noGrp="1"/>
          </p:cNvSpPr>
          <p:nvPr>
            <p:ph idx="1"/>
          </p:nvPr>
        </p:nvSpPr>
        <p:spPr/>
        <p:txBody>
          <a:bodyPr>
            <a:normAutofit fontScale="62500" lnSpcReduction="20000"/>
          </a:bodyPr>
          <a:lstStyle/>
          <a:p>
            <a:r>
              <a:rPr lang="nl-NL">
                <a:latin typeface="Barlow" pitchFamily="2" charset="77"/>
              </a:rPr>
              <a:t>Introductie LPZ</a:t>
            </a:r>
          </a:p>
          <a:p>
            <a:pPr lvl="2"/>
            <a:r>
              <a:rPr lang="nl-NL">
                <a:latin typeface="Barlow" pitchFamily="2" charset="77"/>
              </a:rPr>
              <a:t>Wat is het?</a:t>
            </a:r>
          </a:p>
          <a:p>
            <a:pPr lvl="2"/>
            <a:r>
              <a:rPr lang="nl-NL">
                <a:latin typeface="Barlow" pitchFamily="2" charset="77"/>
              </a:rPr>
              <a:t>Voor wie is het?</a:t>
            </a:r>
          </a:p>
          <a:p>
            <a:r>
              <a:rPr lang="nl-NL">
                <a:latin typeface="Barlow" pitchFamily="2" charset="77"/>
              </a:rPr>
              <a:t>Ontwikkeling dashboards kindergeneeskunde en neonatologie LPZ</a:t>
            </a:r>
          </a:p>
          <a:p>
            <a:pPr lvl="2"/>
            <a:r>
              <a:rPr lang="nl-NL">
                <a:latin typeface="Barlow" pitchFamily="2" charset="77"/>
              </a:rPr>
              <a:t>Inzicht in capaciteit voor patiënten &lt; 18 jaar</a:t>
            </a:r>
          </a:p>
          <a:p>
            <a:pPr lvl="2"/>
            <a:r>
              <a:rPr lang="nl-NL">
                <a:latin typeface="Barlow" pitchFamily="2" charset="77"/>
              </a:rPr>
              <a:t>LPZ en de kindergeneeskunde</a:t>
            </a:r>
          </a:p>
          <a:p>
            <a:pPr lvl="2"/>
            <a:r>
              <a:rPr lang="nl-NL">
                <a:latin typeface="Barlow" pitchFamily="2" charset="77"/>
              </a:rPr>
              <a:t>Waarom LPZ?</a:t>
            </a:r>
          </a:p>
          <a:p>
            <a:pPr lvl="2"/>
            <a:r>
              <a:rPr lang="nl-NL">
                <a:latin typeface="Barlow" pitchFamily="2" charset="77"/>
              </a:rPr>
              <a:t>Hoe komen de dashboards 2.0 tot stand? </a:t>
            </a:r>
          </a:p>
          <a:p>
            <a:pPr lvl="2"/>
            <a:r>
              <a:rPr lang="nl-NL">
                <a:latin typeface="Barlow" pitchFamily="2" charset="77"/>
              </a:rPr>
              <a:t>Welke informatie staat er op deze dashboards?</a:t>
            </a:r>
          </a:p>
          <a:p>
            <a:pPr lvl="2"/>
            <a:r>
              <a:rPr lang="nl-NL">
                <a:latin typeface="Barlow" pitchFamily="2" charset="77"/>
              </a:rPr>
              <a:t>Neonatologie en het geboortezorgdashboard</a:t>
            </a:r>
          </a:p>
          <a:p>
            <a:pPr lvl="2"/>
            <a:r>
              <a:rPr lang="nl-NL">
                <a:latin typeface="Barlow" pitchFamily="2" charset="77"/>
              </a:rPr>
              <a:t>Wat is er vernieuwd in dashboards 2.0 ten opzichte van 1.0?</a:t>
            </a:r>
          </a:p>
          <a:p>
            <a:pPr lvl="2"/>
            <a:r>
              <a:rPr lang="nl-NL">
                <a:latin typeface="Barlow" pitchFamily="2" charset="77"/>
              </a:rPr>
              <a:t>Hoe wordt capaciteitsinformatie aangeleverd?</a:t>
            </a:r>
          </a:p>
          <a:p>
            <a:r>
              <a:rPr lang="nl-NL">
                <a:latin typeface="Barlow" pitchFamily="2" charset="77"/>
              </a:rPr>
              <a:t>(Live) demo</a:t>
            </a:r>
          </a:p>
          <a:p>
            <a:pPr lvl="2"/>
            <a:r>
              <a:rPr lang="nl-NL">
                <a:latin typeface="Barlow" pitchFamily="2" charset="77"/>
              </a:rPr>
              <a:t>Hoe werken de dashboards kindergeneeskunde en neonatologie van het LPZ in de praktijk?</a:t>
            </a:r>
          </a:p>
          <a:p>
            <a:r>
              <a:rPr lang="nl-NL">
                <a:latin typeface="Barlow" pitchFamily="2" charset="77"/>
              </a:rPr>
              <a:t>Implementatieperiode</a:t>
            </a:r>
          </a:p>
          <a:p>
            <a:pPr lvl="2"/>
            <a:r>
              <a:rPr lang="nl-NL">
                <a:latin typeface="Barlow" pitchFamily="2" charset="77"/>
              </a:rPr>
              <a:t>Van ontwikkeling naar implementatie</a:t>
            </a:r>
          </a:p>
          <a:p>
            <a:pPr lvl="2"/>
            <a:r>
              <a:rPr lang="nl-NL"/>
              <a:t>Gezamenlijke inspanning tussen betrokken zorgprofessionals en ROAZ-bureaus</a:t>
            </a:r>
          </a:p>
          <a:p>
            <a:pPr lvl="2"/>
            <a:r>
              <a:rPr lang="nl-NL">
                <a:latin typeface="Barlow" pitchFamily="2" charset="77"/>
              </a:rPr>
              <a:t>Implementatieinformatiepakket</a:t>
            </a:r>
          </a:p>
          <a:p>
            <a:pPr lvl="2"/>
            <a:r>
              <a:rPr lang="nl-NL">
                <a:latin typeface="Barlow" pitchFamily="2" charset="77"/>
              </a:rPr>
              <a:t>Monitoring voortgang implementatie</a:t>
            </a:r>
          </a:p>
          <a:p>
            <a:pPr lvl="2"/>
            <a:r>
              <a:rPr lang="nl-NL">
                <a:latin typeface="Barlow" pitchFamily="2" charset="77"/>
              </a:rPr>
              <a:t>Ervaringen en tips voor implementatie vanuit de praktijktest</a:t>
            </a:r>
          </a:p>
          <a:p>
            <a:pPr lvl="2"/>
            <a:r>
              <a:rPr lang="nl-NL">
                <a:latin typeface="Barlow" pitchFamily="2" charset="77"/>
              </a:rPr>
              <a:t>Waar is meer informatie te vinden?</a:t>
            </a:r>
          </a:p>
          <a:p>
            <a:pPr marL="714375" lvl="2" indent="0">
              <a:buNone/>
            </a:pPr>
            <a:endParaRPr lang="nl-NL"/>
          </a:p>
        </p:txBody>
      </p:sp>
      <p:sp>
        <p:nvSpPr>
          <p:cNvPr id="4" name="Titel 3">
            <a:extLst>
              <a:ext uri="{FF2B5EF4-FFF2-40B4-BE49-F238E27FC236}">
                <a16:creationId xmlns:a16="http://schemas.microsoft.com/office/drawing/2014/main" id="{36B32275-5DAE-5F16-B65C-ABB7990A8E4D}"/>
              </a:ext>
            </a:extLst>
          </p:cNvPr>
          <p:cNvSpPr>
            <a:spLocks noGrp="1"/>
          </p:cNvSpPr>
          <p:nvPr>
            <p:ph type="title"/>
          </p:nvPr>
        </p:nvSpPr>
        <p:spPr/>
        <p:txBody>
          <a:bodyPr>
            <a:normAutofit fontScale="90000"/>
          </a:bodyPr>
          <a:lstStyle/>
          <a:p>
            <a:r>
              <a:rPr lang="nl-NL"/>
              <a:t>Inhoud van de presentatie</a:t>
            </a:r>
          </a:p>
        </p:txBody>
      </p:sp>
    </p:spTree>
    <p:extLst>
      <p:ext uri="{BB962C8B-B14F-4D97-AF65-F5344CB8AC3E}">
        <p14:creationId xmlns:p14="http://schemas.microsoft.com/office/powerpoint/2010/main" val="29738984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241FE7C-4057-8E7C-164E-9DB252A1D60C}"/>
              </a:ext>
            </a:extLst>
          </p:cNvPr>
          <p:cNvSpPr>
            <a:spLocks noGrp="1"/>
          </p:cNvSpPr>
          <p:nvPr>
            <p:ph type="title"/>
          </p:nvPr>
        </p:nvSpPr>
        <p:spPr/>
        <p:txBody>
          <a:bodyPr>
            <a:noAutofit/>
          </a:bodyPr>
          <a:lstStyle/>
          <a:p>
            <a:r>
              <a:rPr lang="nl-NL" sz="2500">
                <a:solidFill>
                  <a:srgbClr val="1D5886"/>
                </a:solidFill>
              </a:rPr>
              <a:t>Implementatieperiode | Gezamenlijke inspanning tussen betrokken zorgprofessionals en ROAZ-bureaus</a:t>
            </a:r>
          </a:p>
        </p:txBody>
      </p:sp>
      <p:sp>
        <p:nvSpPr>
          <p:cNvPr id="3" name="Tijdelijke aanduiding voor inhoud 2">
            <a:extLst>
              <a:ext uri="{FF2B5EF4-FFF2-40B4-BE49-F238E27FC236}">
                <a16:creationId xmlns:a16="http://schemas.microsoft.com/office/drawing/2014/main" id="{83C523D6-1E49-DB66-8F1D-A3C021B67C00}"/>
              </a:ext>
            </a:extLst>
          </p:cNvPr>
          <p:cNvSpPr>
            <a:spLocks noGrp="1"/>
          </p:cNvSpPr>
          <p:nvPr>
            <p:ph idx="1"/>
          </p:nvPr>
        </p:nvSpPr>
        <p:spPr/>
        <p:txBody>
          <a:bodyPr/>
          <a:lstStyle/>
          <a:p>
            <a:pPr marL="342900" lvl="1" indent="-342900" fontAlgn="base">
              <a:spcBef>
                <a:spcPts val="1000"/>
              </a:spcBef>
            </a:pPr>
            <a:r>
              <a:rPr lang="nl-NL" sz="1800" i="0">
                <a:latin typeface="Barlow Medium" panose="00000600000000000000" pitchFamily="2" charset="0"/>
              </a:rPr>
              <a:t>Aansluiting op het LPZ omvat veel ziekenhuizen </a:t>
            </a:r>
            <a:r>
              <a:rPr lang="nl-NL" sz="1800" i="0">
                <a:latin typeface="Barlow Medium" panose="00000600000000000000" pitchFamily="2" charset="0"/>
                <a:sym typeface="Wingdings" panose="05000000000000000000" pitchFamily="2" charset="2"/>
              </a:rPr>
              <a:t> actieve betrokkenheid cruciaal.</a:t>
            </a:r>
          </a:p>
          <a:p>
            <a:pPr marL="342900" lvl="1" indent="-342900" fontAlgn="base">
              <a:spcBef>
                <a:spcPts val="1000"/>
              </a:spcBef>
            </a:pPr>
            <a:r>
              <a:rPr lang="nl-NL" sz="1800" i="0">
                <a:latin typeface="Barlow Medium" panose="00000600000000000000" pitchFamily="2" charset="0"/>
                <a:sym typeface="Wingdings" panose="05000000000000000000" pitchFamily="2" charset="2"/>
              </a:rPr>
              <a:t>Aansluiting omvat meer dan alleen de technische implementatie, </a:t>
            </a:r>
            <a:r>
              <a:rPr lang="nl-NL" sz="1800" i="0" u="sng">
                <a:latin typeface="Barlow Medium" panose="00000600000000000000" pitchFamily="2" charset="0"/>
                <a:sym typeface="Wingdings" panose="05000000000000000000" pitchFamily="2" charset="2"/>
              </a:rPr>
              <a:t>het gaat vooral om goede samenwerkingsafspraken</a:t>
            </a:r>
            <a:r>
              <a:rPr lang="nl-NL" sz="1800" i="0">
                <a:latin typeface="Barlow Medium" panose="00000600000000000000" pitchFamily="2" charset="0"/>
                <a:sym typeface="Wingdings" panose="05000000000000000000" pitchFamily="2" charset="2"/>
              </a:rPr>
              <a:t>.</a:t>
            </a:r>
          </a:p>
          <a:p>
            <a:pPr marL="342900" lvl="1" indent="-342900" fontAlgn="base">
              <a:spcBef>
                <a:spcPts val="1000"/>
              </a:spcBef>
            </a:pPr>
            <a:r>
              <a:rPr lang="nl-NL" sz="1800" i="0">
                <a:latin typeface="Barlow Medium" panose="00000600000000000000" pitchFamily="2" charset="0"/>
                <a:sym typeface="Wingdings" panose="05000000000000000000" pitchFamily="2" charset="2"/>
              </a:rPr>
              <a:t>Ziekenhuizen worden actief begeleid bij dit veranderingstraject:</a:t>
            </a:r>
          </a:p>
          <a:p>
            <a:pPr marL="479425" lvl="1" indent="-285750" defTabSz="277246">
              <a:buFont typeface="Arial" panose="020B0604020202020204" pitchFamily="34" charset="0"/>
              <a:buChar char="•"/>
            </a:pPr>
            <a:r>
              <a:rPr lang="nl-NL" kern="100">
                <a:latin typeface="Aptos" panose="020B0004020202020204" pitchFamily="34" charset="0"/>
                <a:ea typeface="Calibri" panose="020F0502020204030204" pitchFamily="34" charset="0"/>
                <a:cs typeface="Arial" panose="020B0604020202020204" pitchFamily="34" charset="0"/>
                <a:sym typeface="Wingdings" panose="05000000000000000000" pitchFamily="2" charset="2"/>
              </a:rPr>
              <a:t>Via het netwerk van de NVK.</a:t>
            </a:r>
          </a:p>
          <a:p>
            <a:pPr marL="479425" lvl="1" indent="-285750" defTabSz="277246">
              <a:buFont typeface="Arial" panose="020B0604020202020204" pitchFamily="34" charset="0"/>
              <a:buChar char="•"/>
            </a:pPr>
            <a:r>
              <a:rPr lang="nl-NL" kern="100">
                <a:latin typeface="Aptos" panose="020B0004020202020204" pitchFamily="34" charset="0"/>
                <a:ea typeface="Calibri" panose="020F0502020204030204" pitchFamily="34" charset="0"/>
                <a:cs typeface="Arial" panose="020B0604020202020204" pitchFamily="34" charset="0"/>
                <a:sym typeface="Wingdings" panose="05000000000000000000" pitchFamily="2" charset="2"/>
              </a:rPr>
              <a:t>Via de regionale ROAZ-bureaus:</a:t>
            </a:r>
          </a:p>
          <a:p>
            <a:pPr marL="904875" lvl="2" indent="-285750" defTabSz="277246">
              <a:buFont typeface="Arial" panose="020B0604020202020204" pitchFamily="34" charset="0"/>
              <a:buChar char="•"/>
            </a:pPr>
            <a:r>
              <a:rPr lang="nl-NL" kern="100">
                <a:latin typeface="Aptos" panose="020B0004020202020204" pitchFamily="34" charset="0"/>
                <a:ea typeface="Calibri" panose="020F0502020204030204" pitchFamily="34" charset="0"/>
                <a:cs typeface="Arial" panose="020B0604020202020204" pitchFamily="34" charset="0"/>
                <a:sym typeface="Wingdings" panose="05000000000000000000" pitchFamily="2" charset="2"/>
              </a:rPr>
              <a:t>Ondersteunen ziekenhuizen o.a. bij het opstellen van regionale samenwerkingsafspraken</a:t>
            </a:r>
          </a:p>
          <a:p>
            <a:pPr marL="904875" lvl="2" indent="-285750" defTabSz="277246">
              <a:buFont typeface="Arial" panose="020B0604020202020204" pitchFamily="34" charset="0"/>
              <a:buChar char="•"/>
            </a:pPr>
            <a:r>
              <a:rPr lang="nl-NL" kern="100">
                <a:latin typeface="Aptos" panose="020B0004020202020204" pitchFamily="34" charset="0"/>
                <a:ea typeface="Calibri" panose="020F0502020204030204" pitchFamily="34" charset="0"/>
                <a:cs typeface="Arial" panose="020B0604020202020204" pitchFamily="34" charset="0"/>
                <a:sym typeface="Wingdings" panose="05000000000000000000" pitchFamily="2" charset="2"/>
              </a:rPr>
              <a:t>Verspreiden informatie over aansluiting</a:t>
            </a:r>
          </a:p>
          <a:p>
            <a:pPr marL="904875" lvl="2" indent="-285750" defTabSz="277246">
              <a:buFont typeface="Arial" panose="020B0604020202020204" pitchFamily="34" charset="0"/>
              <a:buChar char="•"/>
            </a:pPr>
            <a:r>
              <a:rPr lang="nl-NL" kern="100">
                <a:latin typeface="Aptos" panose="020B0004020202020204" pitchFamily="34" charset="0"/>
                <a:ea typeface="Calibri" panose="020F0502020204030204" pitchFamily="34" charset="0"/>
                <a:cs typeface="Arial" panose="020B0604020202020204" pitchFamily="34" charset="0"/>
                <a:sym typeface="Wingdings" panose="05000000000000000000" pitchFamily="2" charset="2"/>
              </a:rPr>
              <a:t>Onderhouden nauw contact met ziekenhuizen over de voortgang</a:t>
            </a:r>
          </a:p>
          <a:p>
            <a:pPr marL="904875" lvl="2" indent="-285750" defTabSz="277246">
              <a:buFont typeface="Arial" panose="020B0604020202020204" pitchFamily="34" charset="0"/>
              <a:buChar char="•"/>
            </a:pPr>
            <a:r>
              <a:rPr lang="nl-NL" kern="100">
                <a:latin typeface="Aptos" panose="020B0004020202020204" pitchFamily="34" charset="0"/>
                <a:ea typeface="Calibri" panose="020F0502020204030204" pitchFamily="34" charset="0"/>
                <a:cs typeface="Arial" panose="020B0604020202020204" pitchFamily="34" charset="0"/>
                <a:sym typeface="Wingdings" panose="05000000000000000000" pitchFamily="2" charset="2"/>
              </a:rPr>
              <a:t>Monitoren voortgang van de implementatie in de regio</a:t>
            </a:r>
          </a:p>
          <a:p>
            <a:endParaRPr lang="nl-NL"/>
          </a:p>
        </p:txBody>
      </p:sp>
      <p:sp>
        <p:nvSpPr>
          <p:cNvPr id="4" name="Tijdelijke aanduiding voor dianummer 3">
            <a:extLst>
              <a:ext uri="{FF2B5EF4-FFF2-40B4-BE49-F238E27FC236}">
                <a16:creationId xmlns:a16="http://schemas.microsoft.com/office/drawing/2014/main" id="{F2D3386F-B941-A89D-6096-1DD9AC04953F}"/>
              </a:ext>
            </a:extLst>
          </p:cNvPr>
          <p:cNvSpPr>
            <a:spLocks noGrp="1"/>
          </p:cNvSpPr>
          <p:nvPr>
            <p:ph type="sldNum" sz="quarter" idx="12"/>
          </p:nvPr>
        </p:nvSpPr>
        <p:spPr/>
        <p:txBody>
          <a:bodyPr/>
          <a:lstStyle/>
          <a:p>
            <a:fld id="{69E57DC2-970A-4B3E-BB1C-7A09969E49DF}" type="slidenum">
              <a:rPr lang="nl-NL" smtClean="0"/>
              <a:t>20</a:t>
            </a:fld>
            <a:endParaRPr lang="nl-NL"/>
          </a:p>
        </p:txBody>
      </p:sp>
      <p:pic>
        <p:nvPicPr>
          <p:cNvPr id="5" name="Afbeelding 4">
            <a:extLst>
              <a:ext uri="{FF2B5EF4-FFF2-40B4-BE49-F238E27FC236}">
                <a16:creationId xmlns:a16="http://schemas.microsoft.com/office/drawing/2014/main" id="{4584A3BF-6412-7C88-2F35-739251BF64D7}"/>
              </a:ext>
            </a:extLst>
          </p:cNvPr>
          <p:cNvPicPr>
            <a:picLocks noChangeAspect="1"/>
          </p:cNvPicPr>
          <p:nvPr/>
        </p:nvPicPr>
        <p:blipFill>
          <a:blip r:embed="rId2"/>
          <a:stretch>
            <a:fillRect/>
          </a:stretch>
        </p:blipFill>
        <p:spPr>
          <a:xfrm>
            <a:off x="9022533" y="3881173"/>
            <a:ext cx="2295324" cy="2168634"/>
          </a:xfrm>
          <a:prstGeom prst="rect">
            <a:avLst/>
          </a:prstGeom>
        </p:spPr>
      </p:pic>
    </p:spTree>
    <p:extLst>
      <p:ext uri="{BB962C8B-B14F-4D97-AF65-F5344CB8AC3E}">
        <p14:creationId xmlns:p14="http://schemas.microsoft.com/office/powerpoint/2010/main" val="41290975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vak 1">
            <a:extLst>
              <a:ext uri="{FF2B5EF4-FFF2-40B4-BE49-F238E27FC236}">
                <a16:creationId xmlns:a16="http://schemas.microsoft.com/office/drawing/2014/main" id="{5B910E48-B8EA-95E2-AA12-4C7B56E066BC}"/>
              </a:ext>
            </a:extLst>
          </p:cNvPr>
          <p:cNvSpPr txBox="1"/>
          <p:nvPr/>
        </p:nvSpPr>
        <p:spPr>
          <a:xfrm>
            <a:off x="535317" y="1019553"/>
            <a:ext cx="11121365" cy="629724"/>
          </a:xfrm>
          <a:prstGeom prst="rect">
            <a:avLst/>
          </a:prstGeom>
          <a:noFill/>
        </p:spPr>
        <p:txBody>
          <a:bodyPr wrap="square" rtlCol="0">
            <a:spAutoFit/>
          </a:bodyPr>
          <a:lstStyle/>
          <a:p>
            <a:endParaRPr lang="nl-NL" sz="2400" b="1" kern="100">
              <a:latin typeface="Aptos" panose="020B0004020202020204" pitchFamily="34" charset="0"/>
              <a:ea typeface="Calibri" panose="020F0502020204030204" pitchFamily="34" charset="0"/>
              <a:cs typeface="Arial" panose="020B0604020202020204" pitchFamily="34" charset="0"/>
            </a:endParaRPr>
          </a:p>
          <a:p>
            <a:pPr defTabSz="277246"/>
            <a:endParaRPr lang="nl-NL" sz="1092">
              <a:latin typeface="Calibri"/>
            </a:endParaRPr>
          </a:p>
        </p:txBody>
      </p:sp>
      <p:sp>
        <p:nvSpPr>
          <p:cNvPr id="4" name="Rechthoek: afgeronde hoeken 3">
            <a:extLst>
              <a:ext uri="{FF2B5EF4-FFF2-40B4-BE49-F238E27FC236}">
                <a16:creationId xmlns:a16="http://schemas.microsoft.com/office/drawing/2014/main" id="{6678EE94-E7BB-78A9-AD7F-35A56A88096B}"/>
              </a:ext>
            </a:extLst>
          </p:cNvPr>
          <p:cNvSpPr/>
          <p:nvPr/>
        </p:nvSpPr>
        <p:spPr>
          <a:xfrm>
            <a:off x="4256127" y="2882745"/>
            <a:ext cx="3679744" cy="2053721"/>
          </a:xfrm>
          <a:prstGeom prst="roundRect">
            <a:avLst/>
          </a:prstGeom>
          <a:solidFill>
            <a:srgbClr val="F8FA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NL" b="1">
                <a:solidFill>
                  <a:srgbClr val="1D5886"/>
                </a:solidFill>
                <a:latin typeface="Barlow" panose="00000500000000000000" pitchFamily="2" charset="0"/>
              </a:rPr>
              <a:t>Aanleveren</a:t>
            </a:r>
          </a:p>
          <a:p>
            <a:endParaRPr lang="nl-NL" b="1">
              <a:solidFill>
                <a:srgbClr val="1D5886"/>
              </a:solidFill>
              <a:latin typeface="Barlow" panose="00000500000000000000" pitchFamily="2" charset="0"/>
            </a:endParaRPr>
          </a:p>
          <a:p>
            <a:pPr marL="285750" indent="-285750">
              <a:buFont typeface="Arial" panose="020B0604020202020204" pitchFamily="34" charset="0"/>
              <a:buChar char="•"/>
            </a:pPr>
            <a:r>
              <a:rPr lang="nl-NL">
                <a:solidFill>
                  <a:srgbClr val="1D5886"/>
                </a:solidFill>
                <a:latin typeface="Barlow" panose="00000500000000000000" pitchFamily="2" charset="0"/>
              </a:rPr>
              <a:t>Handleiding voor IT-afdeling ziekenhuis/organisatiebeheerders</a:t>
            </a:r>
          </a:p>
          <a:p>
            <a:pPr marL="742950" lvl="1" indent="-285750">
              <a:buFont typeface="Wingdings" panose="05000000000000000000" pitchFamily="2" charset="2"/>
              <a:buChar char="Ø"/>
            </a:pPr>
            <a:r>
              <a:rPr lang="nl-NL">
                <a:solidFill>
                  <a:srgbClr val="1D5886"/>
                </a:solidFill>
                <a:latin typeface="Barlow" panose="00000500000000000000" pitchFamily="2" charset="0"/>
              </a:rPr>
              <a:t>Op </a:t>
            </a:r>
            <a:r>
              <a:rPr lang="nl-NL">
                <a:solidFill>
                  <a:srgbClr val="1D5886"/>
                </a:solidFill>
                <a:latin typeface="Barlow" panose="00000500000000000000" pitchFamily="2" charset="0"/>
                <a:hlinkClick r:id="rId2"/>
              </a:rPr>
              <a:t>LPZ Kennisbank </a:t>
            </a:r>
            <a:r>
              <a:rPr lang="nl-NL">
                <a:solidFill>
                  <a:srgbClr val="1D5886"/>
                </a:solidFill>
                <a:latin typeface="Barlow" panose="00000500000000000000" pitchFamily="2" charset="0"/>
              </a:rPr>
              <a:t>(per 7 januari beschikbaar)</a:t>
            </a:r>
          </a:p>
        </p:txBody>
      </p:sp>
      <p:sp>
        <p:nvSpPr>
          <p:cNvPr id="5" name="Rechthoek: afgeronde hoeken 6">
            <a:extLst>
              <a:ext uri="{FF2B5EF4-FFF2-40B4-BE49-F238E27FC236}">
                <a16:creationId xmlns:a16="http://schemas.microsoft.com/office/drawing/2014/main" id="{32F92AC4-81CC-956C-B4D7-F1A5353FE7F6}"/>
              </a:ext>
            </a:extLst>
          </p:cNvPr>
          <p:cNvSpPr/>
          <p:nvPr/>
        </p:nvSpPr>
        <p:spPr>
          <a:xfrm>
            <a:off x="485984" y="2906695"/>
            <a:ext cx="3679744" cy="2005822"/>
          </a:xfrm>
          <a:prstGeom prst="roundRect">
            <a:avLst/>
          </a:prstGeom>
          <a:solidFill>
            <a:srgbClr val="F8FA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NL" b="1">
                <a:solidFill>
                  <a:srgbClr val="1D5886"/>
                </a:solidFill>
                <a:latin typeface="Barlow" panose="00000500000000000000" pitchFamily="2" charset="0"/>
              </a:rPr>
              <a:t>Inrichten</a:t>
            </a:r>
          </a:p>
          <a:p>
            <a:endParaRPr lang="nl-NL" b="1">
              <a:solidFill>
                <a:srgbClr val="1D5886"/>
              </a:solidFill>
              <a:latin typeface="Barlow" panose="00000500000000000000" pitchFamily="2" charset="0"/>
            </a:endParaRPr>
          </a:p>
          <a:p>
            <a:pPr marL="285750" indent="-285750">
              <a:buFont typeface="Arial" panose="020B0604020202020204" pitchFamily="34" charset="0"/>
              <a:buChar char="•"/>
            </a:pPr>
            <a:r>
              <a:rPr lang="nl-NL">
                <a:solidFill>
                  <a:srgbClr val="1D5886"/>
                </a:solidFill>
                <a:latin typeface="Barlow" panose="00000500000000000000" pitchFamily="2" charset="0"/>
              </a:rPr>
              <a:t>Handleiding voor organisatiebeheerders</a:t>
            </a:r>
          </a:p>
          <a:p>
            <a:pPr marL="742950" lvl="1" indent="-285750">
              <a:buFont typeface="Wingdings" panose="05000000000000000000" pitchFamily="2" charset="2"/>
              <a:buChar char="Ø"/>
            </a:pPr>
            <a:r>
              <a:rPr lang="nl-NL">
                <a:solidFill>
                  <a:srgbClr val="1D5886"/>
                </a:solidFill>
                <a:latin typeface="Barlow" panose="00000500000000000000" pitchFamily="2" charset="0"/>
              </a:rPr>
              <a:t>Op </a:t>
            </a:r>
            <a:r>
              <a:rPr lang="nl-NL">
                <a:solidFill>
                  <a:srgbClr val="1D5886"/>
                </a:solidFill>
                <a:latin typeface="Barlow" panose="00000500000000000000" pitchFamily="2" charset="0"/>
                <a:hlinkClick r:id="rId2"/>
              </a:rPr>
              <a:t>LPZ Kennisbank </a:t>
            </a:r>
            <a:r>
              <a:rPr lang="nl-NL">
                <a:solidFill>
                  <a:srgbClr val="1D5886"/>
                </a:solidFill>
                <a:latin typeface="Barlow" panose="00000500000000000000" pitchFamily="2" charset="0"/>
              </a:rPr>
              <a:t>(per 7 januari beschikbaar)</a:t>
            </a:r>
            <a:endParaRPr lang="nl-NL" b="1">
              <a:solidFill>
                <a:srgbClr val="1D5886"/>
              </a:solidFill>
              <a:latin typeface="Barlow" panose="00000500000000000000" pitchFamily="2" charset="0"/>
            </a:endParaRPr>
          </a:p>
          <a:p>
            <a:pPr marL="342900" indent="-342900">
              <a:buFont typeface="Arial" panose="020B0604020202020204" pitchFamily="34" charset="0"/>
              <a:buChar char="•"/>
            </a:pPr>
            <a:endParaRPr lang="nl-NL" sz="2400">
              <a:solidFill>
                <a:srgbClr val="1D5886"/>
              </a:solidFill>
              <a:latin typeface="Barlow" panose="00000500000000000000" pitchFamily="2" charset="0"/>
            </a:endParaRPr>
          </a:p>
        </p:txBody>
      </p:sp>
      <p:sp>
        <p:nvSpPr>
          <p:cNvPr id="6" name="Rechthoek: afgeronde hoeken 5">
            <a:extLst>
              <a:ext uri="{FF2B5EF4-FFF2-40B4-BE49-F238E27FC236}">
                <a16:creationId xmlns:a16="http://schemas.microsoft.com/office/drawing/2014/main" id="{A46FF6A6-6480-69A9-7859-120104A58A43}"/>
              </a:ext>
            </a:extLst>
          </p:cNvPr>
          <p:cNvSpPr/>
          <p:nvPr/>
        </p:nvSpPr>
        <p:spPr>
          <a:xfrm>
            <a:off x="8116672" y="2935480"/>
            <a:ext cx="3540010" cy="2084201"/>
          </a:xfrm>
          <a:prstGeom prst="roundRect">
            <a:avLst/>
          </a:prstGeom>
          <a:solidFill>
            <a:srgbClr val="F8FA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NL" b="1">
                <a:solidFill>
                  <a:srgbClr val="1D5886"/>
                </a:solidFill>
                <a:latin typeface="Barlow" panose="00000500000000000000" pitchFamily="2" charset="0"/>
              </a:rPr>
              <a:t>Gebruiken LPZ</a:t>
            </a:r>
          </a:p>
          <a:p>
            <a:endParaRPr lang="nl-NL" b="1">
              <a:solidFill>
                <a:srgbClr val="1D5886"/>
              </a:solidFill>
              <a:latin typeface="Barlow" panose="00000500000000000000" pitchFamily="2" charset="0"/>
            </a:endParaRPr>
          </a:p>
          <a:p>
            <a:pPr marL="285750" indent="-285750">
              <a:buFont typeface="Arial" panose="020B0604020202020204" pitchFamily="34" charset="0"/>
              <a:buChar char="•"/>
            </a:pPr>
            <a:r>
              <a:rPr lang="nl-NL">
                <a:solidFill>
                  <a:srgbClr val="1D5886"/>
                </a:solidFill>
                <a:latin typeface="Barlow" panose="00000500000000000000" pitchFamily="2" charset="0"/>
              </a:rPr>
              <a:t>Handleiding voor gebruikers</a:t>
            </a:r>
          </a:p>
          <a:p>
            <a:pPr marL="285750" indent="-285750">
              <a:buFont typeface="Arial" panose="020B0604020202020204" pitchFamily="34" charset="0"/>
              <a:buChar char="•"/>
            </a:pPr>
            <a:r>
              <a:rPr lang="nl-NL">
                <a:solidFill>
                  <a:srgbClr val="1D5886"/>
                </a:solidFill>
                <a:latin typeface="Barlow" panose="00000500000000000000" pitchFamily="2" charset="0"/>
              </a:rPr>
              <a:t>Zakkaartje</a:t>
            </a:r>
          </a:p>
          <a:p>
            <a:pPr marL="742950" lvl="1" indent="-285750">
              <a:buFont typeface="Wingdings" pitchFamily="2" charset="2"/>
              <a:buChar char="Ø"/>
            </a:pPr>
            <a:r>
              <a:rPr lang="nl-NL">
                <a:solidFill>
                  <a:srgbClr val="1D5886"/>
                </a:solidFill>
                <a:latin typeface="Barlow" panose="00000500000000000000" pitchFamily="2" charset="0"/>
              </a:rPr>
              <a:t>Op </a:t>
            </a:r>
            <a:r>
              <a:rPr lang="nl-NL">
                <a:solidFill>
                  <a:srgbClr val="1D5886"/>
                </a:solidFill>
                <a:latin typeface="Barlow" panose="00000500000000000000" pitchFamily="2" charset="0"/>
                <a:hlinkClick r:id="rId2"/>
              </a:rPr>
              <a:t>LPZ Kennisbank </a:t>
            </a:r>
            <a:r>
              <a:rPr lang="nl-NL">
                <a:solidFill>
                  <a:srgbClr val="1D5886"/>
                </a:solidFill>
                <a:latin typeface="Barlow" panose="00000500000000000000" pitchFamily="2" charset="0"/>
              </a:rPr>
              <a:t>(per 7 januari beschikbaar)</a:t>
            </a:r>
          </a:p>
          <a:p>
            <a:endParaRPr lang="nl-NL" sz="2400">
              <a:solidFill>
                <a:srgbClr val="1D5886"/>
              </a:solidFill>
              <a:latin typeface="Barlow" panose="00000500000000000000" pitchFamily="2" charset="0"/>
            </a:endParaRPr>
          </a:p>
        </p:txBody>
      </p:sp>
      <p:sp>
        <p:nvSpPr>
          <p:cNvPr id="8" name="Rechthoek: afgeronde hoeken 6">
            <a:extLst>
              <a:ext uri="{FF2B5EF4-FFF2-40B4-BE49-F238E27FC236}">
                <a16:creationId xmlns:a16="http://schemas.microsoft.com/office/drawing/2014/main" id="{F91B2434-89E9-9E91-D138-8F6E8F099B86}"/>
              </a:ext>
            </a:extLst>
          </p:cNvPr>
          <p:cNvSpPr/>
          <p:nvPr/>
        </p:nvSpPr>
        <p:spPr>
          <a:xfrm>
            <a:off x="535317" y="1316457"/>
            <a:ext cx="11121365" cy="1471098"/>
          </a:xfrm>
          <a:prstGeom prst="roundRect">
            <a:avLst/>
          </a:prstGeom>
          <a:solidFill>
            <a:srgbClr val="F8FA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NL" b="1">
                <a:solidFill>
                  <a:srgbClr val="1D5886"/>
                </a:solidFill>
                <a:latin typeface="Barlow" panose="00000500000000000000" pitchFamily="2" charset="0"/>
              </a:rPr>
              <a:t>Communicatie / voorlichting</a:t>
            </a:r>
          </a:p>
          <a:p>
            <a:endParaRPr lang="nl-NL" b="1">
              <a:solidFill>
                <a:srgbClr val="1D5886"/>
              </a:solidFill>
              <a:latin typeface="Barlow" panose="00000500000000000000" pitchFamily="2" charset="0"/>
            </a:endParaRPr>
          </a:p>
          <a:p>
            <a:pPr marL="342900" indent="-342900">
              <a:buFont typeface="Arial" panose="020B0604020202020204" pitchFamily="34" charset="0"/>
              <a:buChar char="•"/>
            </a:pPr>
            <a:r>
              <a:rPr lang="nl-NL">
                <a:solidFill>
                  <a:srgbClr val="1D5886"/>
                </a:solidFill>
                <a:latin typeface="Barlow" panose="00000500000000000000" pitchFamily="2" charset="0"/>
              </a:rPr>
              <a:t>Basispresentatie dashboards kindergeneeskunde en neonatologie LPZ </a:t>
            </a:r>
            <a:r>
              <a:rPr lang="nl-NL" sz="1400">
                <a:solidFill>
                  <a:srgbClr val="1D5886"/>
                </a:solidFill>
                <a:latin typeface="Barlow" panose="00000500000000000000" pitchFamily="2" charset="0"/>
              </a:rPr>
              <a:t>(dit document)</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a:solidFill>
                  <a:srgbClr val="1D5886"/>
                </a:solidFill>
                <a:latin typeface="Barlow" panose="00000500000000000000" pitchFamily="2" charset="0"/>
              </a:rPr>
              <a:t>Informatiefolder dashboards kindergeneeskunde en neonatologie LPZ</a:t>
            </a:r>
          </a:p>
          <a:p>
            <a:endParaRPr lang="nl-NL">
              <a:solidFill>
                <a:srgbClr val="1D5886"/>
              </a:solidFill>
              <a:latin typeface="Barlow" panose="00000500000000000000" pitchFamily="2" charset="0"/>
            </a:endParaRPr>
          </a:p>
        </p:txBody>
      </p:sp>
      <p:sp>
        <p:nvSpPr>
          <p:cNvPr id="7" name="Rechthoek: afgeronde hoeken 6">
            <a:extLst>
              <a:ext uri="{FF2B5EF4-FFF2-40B4-BE49-F238E27FC236}">
                <a16:creationId xmlns:a16="http://schemas.microsoft.com/office/drawing/2014/main" id="{D280FE41-82E3-5E38-E93D-C1685A21A737}"/>
              </a:ext>
            </a:extLst>
          </p:cNvPr>
          <p:cNvSpPr/>
          <p:nvPr/>
        </p:nvSpPr>
        <p:spPr>
          <a:xfrm>
            <a:off x="485984" y="5102897"/>
            <a:ext cx="11170698" cy="1471098"/>
          </a:xfrm>
          <a:prstGeom prst="roundRect">
            <a:avLst/>
          </a:prstGeom>
          <a:solidFill>
            <a:srgbClr val="F8FA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NL" b="1">
                <a:solidFill>
                  <a:srgbClr val="1D5886"/>
                </a:solidFill>
                <a:latin typeface="Barlow" panose="00000500000000000000" pitchFamily="2" charset="0"/>
              </a:rPr>
              <a:t>Monitoren implementatie</a:t>
            </a:r>
          </a:p>
          <a:p>
            <a:endParaRPr lang="nl-NL" b="1">
              <a:solidFill>
                <a:srgbClr val="1D5886"/>
              </a:solidFill>
              <a:latin typeface="Barlow" panose="00000500000000000000" pitchFamily="2" charset="0"/>
            </a:endParaRPr>
          </a:p>
          <a:p>
            <a:pPr marL="342900" indent="-342900">
              <a:buFont typeface="Arial" panose="020B0604020202020204" pitchFamily="34" charset="0"/>
              <a:buChar char="•"/>
            </a:pPr>
            <a:r>
              <a:rPr lang="nl-NL">
                <a:solidFill>
                  <a:srgbClr val="1D5886"/>
                </a:solidFill>
                <a:latin typeface="Barlow" panose="00000500000000000000" pitchFamily="2" charset="0"/>
              </a:rPr>
              <a:t>Checklist implementatie dashboards kindergeneeskunde en neonatologie LPZ </a:t>
            </a:r>
            <a:endParaRPr lang="nl-NL" sz="1400">
              <a:solidFill>
                <a:srgbClr val="1D5886"/>
              </a:solidFill>
              <a:latin typeface="Barlow" panose="00000500000000000000" pitchFamily="2" charset="0"/>
            </a:endParaRPr>
          </a:p>
          <a:p>
            <a:pPr marL="342900" indent="-342900">
              <a:buFont typeface="Arial" panose="020B0604020202020204" pitchFamily="34" charset="0"/>
              <a:buChar char="•"/>
            </a:pPr>
            <a:r>
              <a:rPr lang="nl-NL">
                <a:solidFill>
                  <a:srgbClr val="1D5886"/>
                </a:solidFill>
                <a:latin typeface="Barlow" panose="00000500000000000000" pitchFamily="2" charset="0"/>
              </a:rPr>
              <a:t>Monitoring implementatiestatus dashboards kindergeneeskunde en neonatologie LPZ </a:t>
            </a:r>
            <a:r>
              <a:rPr lang="nl-NL" sz="1400">
                <a:solidFill>
                  <a:srgbClr val="1D5886"/>
                </a:solidFill>
                <a:latin typeface="Barlow" panose="00000500000000000000" pitchFamily="2" charset="0"/>
              </a:rPr>
              <a:t>(voor netwerkadviseurs)</a:t>
            </a:r>
          </a:p>
          <a:p>
            <a:endParaRPr lang="nl-NL">
              <a:solidFill>
                <a:srgbClr val="1D5886"/>
              </a:solidFill>
              <a:latin typeface="Barlow" panose="00000500000000000000" pitchFamily="2" charset="0"/>
            </a:endParaRPr>
          </a:p>
        </p:txBody>
      </p:sp>
      <p:pic>
        <p:nvPicPr>
          <p:cNvPr id="10" name="Afbeelding 9">
            <a:extLst>
              <a:ext uri="{FF2B5EF4-FFF2-40B4-BE49-F238E27FC236}">
                <a16:creationId xmlns:a16="http://schemas.microsoft.com/office/drawing/2014/main" id="{B8C01FBF-DBE7-2A3B-26EC-08785B0026B0}"/>
              </a:ext>
            </a:extLst>
          </p:cNvPr>
          <p:cNvPicPr>
            <a:picLocks noChangeAspect="1"/>
          </p:cNvPicPr>
          <p:nvPr/>
        </p:nvPicPr>
        <p:blipFill>
          <a:blip r:embed="rId3"/>
          <a:stretch>
            <a:fillRect/>
          </a:stretch>
        </p:blipFill>
        <p:spPr>
          <a:xfrm>
            <a:off x="9074330" y="65052"/>
            <a:ext cx="1665667" cy="1654804"/>
          </a:xfrm>
          <a:prstGeom prst="rect">
            <a:avLst/>
          </a:prstGeom>
        </p:spPr>
      </p:pic>
      <p:sp>
        <p:nvSpPr>
          <p:cNvPr id="3" name="Titel 1">
            <a:extLst>
              <a:ext uri="{FF2B5EF4-FFF2-40B4-BE49-F238E27FC236}">
                <a16:creationId xmlns:a16="http://schemas.microsoft.com/office/drawing/2014/main" id="{F1CF172B-E971-397C-9BE3-8F3D40521BE0}"/>
              </a:ext>
            </a:extLst>
          </p:cNvPr>
          <p:cNvSpPr>
            <a:spLocks noGrp="1"/>
          </p:cNvSpPr>
          <p:nvPr>
            <p:ph type="title"/>
          </p:nvPr>
        </p:nvSpPr>
        <p:spPr>
          <a:xfrm>
            <a:off x="1371600" y="297237"/>
            <a:ext cx="9946257" cy="755650"/>
          </a:xfrm>
        </p:spPr>
        <p:txBody>
          <a:bodyPr>
            <a:noAutofit/>
          </a:bodyPr>
          <a:lstStyle/>
          <a:p>
            <a:r>
              <a:rPr lang="nl-NL" sz="2500">
                <a:solidFill>
                  <a:srgbClr val="1D5886"/>
                </a:solidFill>
              </a:rPr>
              <a:t>Implementatieperiode | Implementatieinformatiepakket </a:t>
            </a:r>
            <a:br>
              <a:rPr lang="nl-NL" sz="2500">
                <a:solidFill>
                  <a:srgbClr val="1D5886"/>
                </a:solidFill>
              </a:rPr>
            </a:br>
            <a:r>
              <a:rPr lang="nl-NL" sz="2500">
                <a:solidFill>
                  <a:srgbClr val="1D5886"/>
                </a:solidFill>
              </a:rPr>
              <a:t>ter ondersteuning</a:t>
            </a:r>
          </a:p>
        </p:txBody>
      </p:sp>
    </p:spTree>
    <p:extLst>
      <p:ext uri="{BB962C8B-B14F-4D97-AF65-F5344CB8AC3E}">
        <p14:creationId xmlns:p14="http://schemas.microsoft.com/office/powerpoint/2010/main" val="42686613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2BD171B4-D21D-04A4-D28F-EF8485FD14F5}"/>
              </a:ext>
            </a:extLst>
          </p:cNvPr>
          <p:cNvSpPr>
            <a:spLocks noGrp="1"/>
          </p:cNvSpPr>
          <p:nvPr>
            <p:ph type="sldNum" sz="quarter" idx="12"/>
          </p:nvPr>
        </p:nvSpPr>
        <p:spPr/>
        <p:txBody>
          <a:bodyPr/>
          <a:lstStyle/>
          <a:p>
            <a:fld id="{69E57DC2-970A-4B3E-BB1C-7A09969E49DF}" type="slidenum">
              <a:rPr lang="nl-NL" smtClean="0"/>
              <a:t>22</a:t>
            </a:fld>
            <a:endParaRPr lang="nl-NL"/>
          </a:p>
        </p:txBody>
      </p:sp>
      <p:sp>
        <p:nvSpPr>
          <p:cNvPr id="3" name="Tijdelijke aanduiding voor inhoud 2">
            <a:extLst>
              <a:ext uri="{FF2B5EF4-FFF2-40B4-BE49-F238E27FC236}">
                <a16:creationId xmlns:a16="http://schemas.microsoft.com/office/drawing/2014/main" id="{F7B9F340-600C-11D8-C3C3-9CBFACEE0874}"/>
              </a:ext>
            </a:extLst>
          </p:cNvPr>
          <p:cNvSpPr>
            <a:spLocks noGrp="1"/>
          </p:cNvSpPr>
          <p:nvPr>
            <p:ph idx="1"/>
          </p:nvPr>
        </p:nvSpPr>
        <p:spPr/>
        <p:txBody>
          <a:bodyPr>
            <a:normAutofit/>
          </a:bodyPr>
          <a:lstStyle/>
          <a:p>
            <a:pPr marL="0" indent="0">
              <a:buNone/>
            </a:pPr>
            <a:r>
              <a:rPr lang="nl-NL" b="1"/>
              <a:t>Monitoring implementatie (jan – 8 april 2026)</a:t>
            </a:r>
            <a:endParaRPr lang="nl-NL"/>
          </a:p>
          <a:p>
            <a:r>
              <a:rPr lang="nl-NL"/>
              <a:t>Voortgang wordt gedurende deze periode actief gemonitord.</a:t>
            </a:r>
          </a:p>
          <a:p>
            <a:r>
              <a:rPr lang="nl-NL"/>
              <a:t>Adviseurs van de regionale netwerkbureaus acute zorg vullen de voortgangstabel </a:t>
            </a:r>
            <a:r>
              <a:rPr lang="nl-NL" b="1"/>
              <a:t>3 keer</a:t>
            </a:r>
            <a:r>
              <a:rPr lang="nl-NL"/>
              <a:t> in.</a:t>
            </a:r>
          </a:p>
          <a:p>
            <a:r>
              <a:rPr lang="nl-NL" b="1"/>
              <a:t>Parallelle structuur:</a:t>
            </a:r>
            <a:endParaRPr lang="nl-NL"/>
          </a:p>
          <a:p>
            <a:pPr lvl="2"/>
            <a:r>
              <a:rPr lang="nl-NL" b="1"/>
              <a:t>NVK:</a:t>
            </a:r>
            <a:r>
              <a:rPr lang="nl-NL"/>
              <a:t> periodieke bespreking van voortgang en knelpunten.</a:t>
            </a:r>
          </a:p>
          <a:p>
            <a:pPr lvl="2"/>
            <a:r>
              <a:rPr lang="nl-NL" b="1"/>
              <a:t>LPZ-adviesgroep:</a:t>
            </a:r>
            <a:r>
              <a:rPr lang="nl-NL"/>
              <a:t> periodieke bespreking van voortgang en knelpunten.</a:t>
            </a:r>
          </a:p>
          <a:p>
            <a:pPr marL="0" indent="0">
              <a:buNone/>
            </a:pPr>
            <a:r>
              <a:rPr lang="nl-NL" b="1"/>
              <a:t>Go/No-Go moment</a:t>
            </a:r>
            <a:endParaRPr lang="nl-NL"/>
          </a:p>
          <a:p>
            <a:r>
              <a:rPr lang="nl-NL"/>
              <a:t>± </a:t>
            </a:r>
            <a:r>
              <a:rPr lang="nl-NL" b="1"/>
              <a:t>25 maart 2026:</a:t>
            </a:r>
            <a:r>
              <a:rPr lang="nl-NL"/>
              <a:t> besluit projectgroep over officiële livegang.</a:t>
            </a:r>
          </a:p>
          <a:p>
            <a:r>
              <a:rPr lang="nl-NL"/>
              <a:t>Afhankelijk van tijdige en volledige data-aanlevering voor de dashboards.</a:t>
            </a:r>
          </a:p>
          <a:p>
            <a:endParaRPr lang="nl-NL"/>
          </a:p>
        </p:txBody>
      </p:sp>
      <p:pic>
        <p:nvPicPr>
          <p:cNvPr id="6" name="Afbeelding 5">
            <a:extLst>
              <a:ext uri="{FF2B5EF4-FFF2-40B4-BE49-F238E27FC236}">
                <a16:creationId xmlns:a16="http://schemas.microsoft.com/office/drawing/2014/main" id="{6EE3774F-37B1-4222-AC99-D1114F4CEF38}"/>
              </a:ext>
            </a:extLst>
          </p:cNvPr>
          <p:cNvPicPr>
            <a:picLocks noChangeAspect="1"/>
          </p:cNvPicPr>
          <p:nvPr/>
        </p:nvPicPr>
        <p:blipFill>
          <a:blip r:embed="rId2"/>
          <a:stretch>
            <a:fillRect/>
          </a:stretch>
        </p:blipFill>
        <p:spPr>
          <a:xfrm>
            <a:off x="5789530" y="5034369"/>
            <a:ext cx="4327688" cy="1037413"/>
          </a:xfrm>
          <a:prstGeom prst="rect">
            <a:avLst/>
          </a:prstGeom>
        </p:spPr>
      </p:pic>
      <p:sp>
        <p:nvSpPr>
          <p:cNvPr id="10" name="Titel 1">
            <a:extLst>
              <a:ext uri="{FF2B5EF4-FFF2-40B4-BE49-F238E27FC236}">
                <a16:creationId xmlns:a16="http://schemas.microsoft.com/office/drawing/2014/main" id="{BCDDD43A-D9D5-6DB1-D7D4-0A5EEE6844FD}"/>
              </a:ext>
            </a:extLst>
          </p:cNvPr>
          <p:cNvSpPr>
            <a:spLocks noGrp="1"/>
          </p:cNvSpPr>
          <p:nvPr>
            <p:ph type="title"/>
          </p:nvPr>
        </p:nvSpPr>
        <p:spPr>
          <a:xfrm>
            <a:off x="1371600" y="297237"/>
            <a:ext cx="9946257" cy="755650"/>
          </a:xfrm>
        </p:spPr>
        <p:txBody>
          <a:bodyPr>
            <a:normAutofit/>
          </a:bodyPr>
          <a:lstStyle/>
          <a:p>
            <a:r>
              <a:rPr lang="nl-NL" sz="2500"/>
              <a:t>Implementatieperiode | Monitoring voortgang implementatie</a:t>
            </a:r>
          </a:p>
        </p:txBody>
      </p:sp>
    </p:spTree>
    <p:extLst>
      <p:ext uri="{BB962C8B-B14F-4D97-AF65-F5344CB8AC3E}">
        <p14:creationId xmlns:p14="http://schemas.microsoft.com/office/powerpoint/2010/main" val="25143988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05012DCE-3AFB-5E18-68B0-8710B5AF446A}"/>
              </a:ext>
            </a:extLst>
          </p:cNvPr>
          <p:cNvSpPr>
            <a:spLocks noGrp="1"/>
          </p:cNvSpPr>
          <p:nvPr>
            <p:ph type="sldNum" sz="quarter" idx="12"/>
          </p:nvPr>
        </p:nvSpPr>
        <p:spPr/>
        <p:txBody>
          <a:bodyPr/>
          <a:lstStyle/>
          <a:p>
            <a:fld id="{69E57DC2-970A-4B3E-BB1C-7A09969E49DF}" type="slidenum">
              <a:rPr lang="nl-NL" smtClean="0"/>
              <a:t>23</a:t>
            </a:fld>
            <a:endParaRPr lang="nl-NL"/>
          </a:p>
        </p:txBody>
      </p:sp>
      <p:sp>
        <p:nvSpPr>
          <p:cNvPr id="3" name="Tijdelijke aanduiding voor inhoud 2">
            <a:extLst>
              <a:ext uri="{FF2B5EF4-FFF2-40B4-BE49-F238E27FC236}">
                <a16:creationId xmlns:a16="http://schemas.microsoft.com/office/drawing/2014/main" id="{216E24AB-A169-784D-DB87-7DFF364AA3B8}"/>
              </a:ext>
            </a:extLst>
          </p:cNvPr>
          <p:cNvSpPr>
            <a:spLocks noGrp="1"/>
          </p:cNvSpPr>
          <p:nvPr>
            <p:ph idx="1"/>
          </p:nvPr>
        </p:nvSpPr>
        <p:spPr/>
        <p:txBody>
          <a:bodyPr>
            <a:normAutofit/>
          </a:bodyPr>
          <a:lstStyle/>
          <a:p>
            <a:pPr fontAlgn="base"/>
            <a:r>
              <a:rPr lang="nl-NL"/>
              <a:t>De voorbereidingen voor de testperiode was kort; voorbereiden kost meer tijd dan verwacht.</a:t>
            </a:r>
            <a:r>
              <a:rPr lang="en-US"/>
              <a:t>​</a:t>
            </a:r>
          </a:p>
          <a:p>
            <a:pPr lvl="2" fontAlgn="base">
              <a:buFont typeface="Wingdings" pitchFamily="2" charset="2"/>
              <a:buChar char="Ø"/>
            </a:pPr>
            <a:r>
              <a:rPr lang="nl-NL"/>
              <a:t>Start tijdig met landelijke en regionale communicatie, zodat regio’s zich kunnen voorbereiden en de juiste mensen kunnen aanhaken. Het vroegtijdig doorlopen van de implementatiestappen is daarbij aan te raden.</a:t>
            </a:r>
            <a:r>
              <a:rPr lang="en-US"/>
              <a:t>​</a:t>
            </a:r>
          </a:p>
          <a:p>
            <a:pPr fontAlgn="base"/>
            <a:r>
              <a:rPr lang="nl-NL"/>
              <a:t>Een wekelijks inloopspreekuurtje met de deelnemende ziekenhuizen bleek heel prettig (dus zowel met betrokken kinderartsen als capaciteitsmanagers en teammanagers).</a:t>
            </a:r>
            <a:r>
              <a:rPr lang="en-US"/>
              <a:t>​</a:t>
            </a:r>
          </a:p>
          <a:p>
            <a:pPr fontAlgn="base"/>
            <a:r>
              <a:rPr lang="nl-NL"/>
              <a:t>T.a.v. de dashboards:</a:t>
            </a:r>
            <a:r>
              <a:rPr lang="en-US"/>
              <a:t>​</a:t>
            </a:r>
          </a:p>
          <a:p>
            <a:pPr lvl="2" fontAlgn="base">
              <a:buFont typeface="Wingdings" pitchFamily="2" charset="2"/>
              <a:buChar char="Ø"/>
            </a:pPr>
            <a:r>
              <a:rPr lang="nl-NL"/>
              <a:t>Benadruk het belang van goed EPD-gebruik voor automatische aanlevering. De niet beschikbaarheid van apparatuur blijft wel een handmatige actie.</a:t>
            </a:r>
            <a:r>
              <a:rPr lang="en-US"/>
              <a:t>​</a:t>
            </a:r>
          </a:p>
          <a:p>
            <a:pPr lvl="2" fontAlgn="base">
              <a:buFont typeface="Wingdings" pitchFamily="2" charset="2"/>
              <a:buChar char="Ø"/>
            </a:pPr>
            <a:r>
              <a:rPr lang="nl-NL"/>
              <a:t>Er zijn meerdere LPZ-dashboards actief voor &lt;18 jaar, goed om dat scherp te hebben (kindergeneeskunde, neonatologie, NICU, PICU, geboortezorg).​</a:t>
            </a:r>
          </a:p>
          <a:p>
            <a:pPr lvl="2" fontAlgn="base">
              <a:buFont typeface="Wingdings" pitchFamily="2" charset="2"/>
              <a:buChar char="Ø"/>
            </a:pPr>
            <a:r>
              <a:rPr lang="nl-NL"/>
              <a:t>Bied extra uitleg over de drempelwaarden (c.q. kleurcodering en halve/hele bolletjes).</a:t>
            </a:r>
          </a:p>
          <a:p>
            <a:pPr lvl="2">
              <a:buFont typeface="Wingdings" panose="05000000000000000000" pitchFamily="2" charset="2"/>
              <a:buChar char="Ø"/>
            </a:pPr>
            <a:r>
              <a:rPr lang="nl-NL"/>
              <a:t>Neem het onderwerp </a:t>
            </a:r>
            <a:r>
              <a:rPr lang="nl-NL" i="1"/>
              <a:t>accounts </a:t>
            </a:r>
            <a:r>
              <a:rPr lang="nl-NL"/>
              <a:t>expliciet mee:</a:t>
            </a:r>
          </a:p>
          <a:p>
            <a:pPr lvl="3"/>
            <a:r>
              <a:rPr lang="nl-NL"/>
              <a:t>Toegang vermoedelijk nodig voor: kinderartsen, neonatologen, beddencoördinatoren en mogelijk teamleiders.</a:t>
            </a:r>
          </a:p>
          <a:p>
            <a:pPr lvl="2" fontAlgn="base">
              <a:buFont typeface="Wingdings" pitchFamily="2" charset="2"/>
              <a:buChar char="Ø"/>
            </a:pPr>
            <a:endParaRPr lang="nl-NL"/>
          </a:p>
        </p:txBody>
      </p:sp>
      <p:sp>
        <p:nvSpPr>
          <p:cNvPr id="4" name="Titel 3">
            <a:extLst>
              <a:ext uri="{FF2B5EF4-FFF2-40B4-BE49-F238E27FC236}">
                <a16:creationId xmlns:a16="http://schemas.microsoft.com/office/drawing/2014/main" id="{5FC78C29-E2A1-1509-83E9-61F191E386FB}"/>
              </a:ext>
            </a:extLst>
          </p:cNvPr>
          <p:cNvSpPr>
            <a:spLocks noGrp="1"/>
          </p:cNvSpPr>
          <p:nvPr>
            <p:ph type="title"/>
          </p:nvPr>
        </p:nvSpPr>
        <p:spPr>
          <a:xfrm>
            <a:off x="1371599" y="285751"/>
            <a:ext cx="9493625" cy="468883"/>
          </a:xfrm>
        </p:spPr>
        <p:txBody>
          <a:bodyPr>
            <a:normAutofit fontScale="90000"/>
          </a:bodyPr>
          <a:lstStyle/>
          <a:p>
            <a:r>
              <a:rPr lang="nl-NL"/>
              <a:t>Implementatieperiode | Ervaringen en tips voor implementatie vanuit de praktijktest</a:t>
            </a:r>
          </a:p>
        </p:txBody>
      </p:sp>
    </p:spTree>
    <p:extLst>
      <p:ext uri="{BB962C8B-B14F-4D97-AF65-F5344CB8AC3E}">
        <p14:creationId xmlns:p14="http://schemas.microsoft.com/office/powerpoint/2010/main" val="126978994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B5E46354-FBC0-76B9-3669-2AA8846F1FDE}"/>
              </a:ext>
            </a:extLst>
          </p:cNvPr>
          <p:cNvSpPr>
            <a:spLocks noGrp="1"/>
          </p:cNvSpPr>
          <p:nvPr>
            <p:ph type="title"/>
          </p:nvPr>
        </p:nvSpPr>
        <p:spPr>
          <a:xfrm>
            <a:off x="1371599" y="285751"/>
            <a:ext cx="8410575" cy="468883"/>
          </a:xfrm>
        </p:spPr>
        <p:txBody>
          <a:bodyPr anchor="t">
            <a:normAutofit/>
          </a:bodyPr>
          <a:lstStyle/>
          <a:p>
            <a:r>
              <a:rPr lang="nl-NL" sz="2500"/>
              <a:t>Implementatieperiode | Waar is meer informatie te vinden?</a:t>
            </a:r>
          </a:p>
        </p:txBody>
      </p:sp>
      <p:sp>
        <p:nvSpPr>
          <p:cNvPr id="2" name="Tijdelijke aanduiding voor dianummer 1">
            <a:extLst>
              <a:ext uri="{FF2B5EF4-FFF2-40B4-BE49-F238E27FC236}">
                <a16:creationId xmlns:a16="http://schemas.microsoft.com/office/drawing/2014/main" id="{A4EF6323-1F1F-166A-991E-975AB35A6936}"/>
              </a:ext>
            </a:extLst>
          </p:cNvPr>
          <p:cNvSpPr>
            <a:spLocks noGrp="1"/>
          </p:cNvSpPr>
          <p:nvPr>
            <p:ph type="sldNum" sz="quarter" idx="10"/>
          </p:nvPr>
        </p:nvSpPr>
        <p:spPr>
          <a:xfrm>
            <a:off x="11201400" y="6301844"/>
            <a:ext cx="520172" cy="404614"/>
          </a:xfrm>
        </p:spPr>
        <p:txBody>
          <a:bodyPr anchor="ctr">
            <a:normAutofit/>
          </a:bodyPr>
          <a:lstStyle/>
          <a:p>
            <a:pPr>
              <a:spcAft>
                <a:spcPts val="600"/>
              </a:spcAft>
            </a:pPr>
            <a:fld id="{69E57DC2-970A-4B3E-BB1C-7A09969E49DF}" type="slidenum">
              <a:rPr lang="nl-NL" smtClean="0"/>
              <a:pPr>
                <a:spcAft>
                  <a:spcPts val="600"/>
                </a:spcAft>
              </a:pPr>
              <a:t>24</a:t>
            </a:fld>
            <a:endParaRPr lang="nl-NL"/>
          </a:p>
        </p:txBody>
      </p:sp>
      <p:sp>
        <p:nvSpPr>
          <p:cNvPr id="3" name="Tijdelijke aanduiding voor inhoud 2">
            <a:extLst>
              <a:ext uri="{FF2B5EF4-FFF2-40B4-BE49-F238E27FC236}">
                <a16:creationId xmlns:a16="http://schemas.microsoft.com/office/drawing/2014/main" id="{D48A01CD-087A-9D54-DB4D-4881BBFBC9F0}"/>
              </a:ext>
            </a:extLst>
          </p:cNvPr>
          <p:cNvSpPr>
            <a:spLocks noGrp="1"/>
          </p:cNvSpPr>
          <p:nvPr>
            <p:ph type="body" sz="quarter" idx="13"/>
          </p:nvPr>
        </p:nvSpPr>
        <p:spPr>
          <a:xfrm>
            <a:off x="4696788" y="1589772"/>
            <a:ext cx="6076766" cy="4205287"/>
          </a:xfrm>
        </p:spPr>
        <p:txBody>
          <a:bodyPr>
            <a:normAutofit/>
          </a:bodyPr>
          <a:lstStyle/>
          <a:p>
            <a:r>
              <a:rPr lang="nl-NL" kern="100">
                <a:latin typeface="Barlow" pitchFamily="2" charset="77"/>
                <a:cs typeface="Arial" panose="020B0604020202020204" pitchFamily="34" charset="0"/>
              </a:rPr>
              <a:t>Meer informatie over het LPZ is te vinden op de </a:t>
            </a:r>
            <a:r>
              <a:rPr lang="nl-NL" kern="100">
                <a:latin typeface="Barlow" pitchFamily="2" charset="77"/>
                <a:cs typeface="Arial" panose="020B0604020202020204" pitchFamily="34" charset="0"/>
                <a:hlinkClick r:id="rId3"/>
              </a:rPr>
              <a:t>website</a:t>
            </a:r>
            <a:r>
              <a:rPr lang="nl-NL" kern="100">
                <a:latin typeface="Barlow" pitchFamily="2" charset="77"/>
                <a:cs typeface="Arial" panose="020B0604020202020204" pitchFamily="34" charset="0"/>
              </a:rPr>
              <a:t>.</a:t>
            </a:r>
          </a:p>
          <a:p>
            <a:r>
              <a:rPr lang="nl-NL" kern="100">
                <a:latin typeface="Barlow" pitchFamily="2" charset="77"/>
                <a:cs typeface="Arial" panose="020B0604020202020204" pitchFamily="34" charset="0"/>
              </a:rPr>
              <a:t>Meer informatie over de functionaliteiten van het LPZ wordt gegeven op de LPZ</a:t>
            </a:r>
            <a:r>
              <a:rPr lang="nl-NL">
                <a:latin typeface="Barlow" pitchFamily="2" charset="77"/>
              </a:rPr>
              <a:t> </a:t>
            </a:r>
            <a:r>
              <a:rPr lang="nl-NL">
                <a:latin typeface="Barlow" pitchFamily="2" charset="77"/>
                <a:hlinkClick r:id="rId4"/>
              </a:rPr>
              <a:t>kennisbank</a:t>
            </a:r>
            <a:r>
              <a:rPr lang="nl-NL">
                <a:latin typeface="Barlow" pitchFamily="2" charset="77"/>
              </a:rPr>
              <a:t>. </a:t>
            </a:r>
          </a:p>
          <a:p>
            <a:r>
              <a:rPr lang="nl-NL" kern="100">
                <a:latin typeface="Barlow" pitchFamily="2" charset="77"/>
                <a:ea typeface="Calibri" panose="020F0502020204030204" pitchFamily="34" charset="0"/>
                <a:cs typeface="Arial" panose="020B0604020202020204" pitchFamily="34" charset="0"/>
              </a:rPr>
              <a:t>Heb je vragen of loop je ergens tegen aan? Neem contact op met het ROAZ-bureau/ netwerkbureau acute zorg in je regio of met Evelyn van de NVK (projectleider,</a:t>
            </a:r>
            <a:r>
              <a:rPr lang="nl-NL" kern="100">
                <a:solidFill>
                  <a:schemeClr val="accent1"/>
                </a:solidFill>
                <a:latin typeface="Barlow" pitchFamily="2" charset="77"/>
                <a:ea typeface="Calibri" panose="020F0502020204030204" pitchFamily="34" charset="0"/>
                <a:cs typeface="Arial" panose="020B0604020202020204" pitchFamily="34" charset="0"/>
              </a:rPr>
              <a:t> </a:t>
            </a:r>
            <a:r>
              <a:rPr lang="nl-NL">
                <a:solidFill>
                  <a:schemeClr val="accent1"/>
                </a:solidFill>
                <a:latin typeface="Barlow" pitchFamily="2" charset="77"/>
                <a:hlinkClick r:id="rId5">
                  <a:extLst>
                    <a:ext uri="{A12FA001-AC4F-418D-AE19-62706E023703}">
                      <ahyp:hlinkClr xmlns:ahyp="http://schemas.microsoft.com/office/drawing/2018/hyperlinkcolor" val="tx"/>
                    </a:ext>
                  </a:extLst>
                </a:hlinkClick>
              </a:rPr>
              <a:t>grootbruinderink@nvk.nl</a:t>
            </a:r>
            <a:r>
              <a:rPr lang="nl-NL" kern="100">
                <a:solidFill>
                  <a:schemeClr val="accent1"/>
                </a:solidFill>
                <a:latin typeface="Barlow" pitchFamily="2" charset="77"/>
                <a:ea typeface="Calibri" panose="020F0502020204030204" pitchFamily="34" charset="0"/>
                <a:cs typeface="Arial" panose="020B0604020202020204" pitchFamily="34" charset="0"/>
              </a:rPr>
              <a:t>) </a:t>
            </a:r>
            <a:r>
              <a:rPr lang="nl-NL" kern="100">
                <a:latin typeface="Barlow" pitchFamily="2" charset="77"/>
                <a:ea typeface="Calibri" panose="020F0502020204030204" pitchFamily="34" charset="0"/>
                <a:cs typeface="Arial" panose="020B0604020202020204" pitchFamily="34" charset="0"/>
              </a:rPr>
              <a:t>of Vera van het LNAZ/LPZ </a:t>
            </a:r>
            <a:r>
              <a:rPr lang="nl-NL" kern="100">
                <a:solidFill>
                  <a:schemeClr val="accent1"/>
                </a:solidFill>
                <a:latin typeface="Barlow" pitchFamily="2" charset="77"/>
                <a:ea typeface="Calibri" panose="020F0502020204030204" pitchFamily="34" charset="0"/>
                <a:cs typeface="Arial" panose="020B0604020202020204" pitchFamily="34" charset="0"/>
              </a:rPr>
              <a:t>(</a:t>
            </a:r>
            <a:r>
              <a:rPr lang="nl-NL" kern="100">
                <a:latin typeface="Barlow" pitchFamily="2" charset="77"/>
                <a:cs typeface="Arial" panose="020B0604020202020204" pitchFamily="34" charset="0"/>
              </a:rPr>
              <a:t>projectleider,</a:t>
            </a:r>
            <a:r>
              <a:rPr lang="nl-NL" kern="100">
                <a:solidFill>
                  <a:schemeClr val="accent1"/>
                </a:solidFill>
                <a:latin typeface="Barlow" pitchFamily="2" charset="77"/>
                <a:ea typeface="Calibri" panose="020F0502020204030204" pitchFamily="34" charset="0"/>
                <a:cs typeface="Arial" panose="020B0604020202020204" pitchFamily="34" charset="0"/>
              </a:rPr>
              <a:t> </a:t>
            </a:r>
            <a:r>
              <a:rPr lang="nl-NL" kern="100">
                <a:solidFill>
                  <a:schemeClr val="accent1"/>
                </a:solidFill>
                <a:latin typeface="Barlow" pitchFamily="2" charset="77"/>
                <a:ea typeface="Calibri" panose="020F050202020403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v.vandebeek@lnaz.nl</a:t>
            </a:r>
            <a:r>
              <a:rPr lang="nl-NL" kern="100">
                <a:solidFill>
                  <a:schemeClr val="accent1"/>
                </a:solidFill>
                <a:latin typeface="Barlow" pitchFamily="2" charset="77"/>
                <a:ea typeface="Calibri" panose="020F0502020204030204" pitchFamily="34" charset="0"/>
                <a:cs typeface="Arial" panose="020B0604020202020204" pitchFamily="34" charset="0"/>
              </a:rPr>
              <a:t>).</a:t>
            </a:r>
          </a:p>
        </p:txBody>
      </p:sp>
      <p:pic>
        <p:nvPicPr>
          <p:cNvPr id="12" name="Graphic 11" descr="Vragen met effen opvulling">
            <a:extLst>
              <a:ext uri="{FF2B5EF4-FFF2-40B4-BE49-F238E27FC236}">
                <a16:creationId xmlns:a16="http://schemas.microsoft.com/office/drawing/2014/main" id="{F9BC42B7-EDF6-320C-A679-EBDC3BF7BA2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923731" y="2242851"/>
            <a:ext cx="2511288" cy="2511288"/>
          </a:xfrm>
          <a:prstGeom prst="rect">
            <a:avLst/>
          </a:prstGeom>
        </p:spPr>
      </p:pic>
    </p:spTree>
    <p:extLst>
      <p:ext uri="{BB962C8B-B14F-4D97-AF65-F5344CB8AC3E}">
        <p14:creationId xmlns:p14="http://schemas.microsoft.com/office/powerpoint/2010/main" val="161400137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kstvak 1">
            <a:extLst>
              <a:ext uri="{FF2B5EF4-FFF2-40B4-BE49-F238E27FC236}">
                <a16:creationId xmlns:a16="http://schemas.microsoft.com/office/drawing/2014/main" id="{223B5046-418A-B0B0-6621-AE77902910BD}"/>
              </a:ext>
            </a:extLst>
          </p:cNvPr>
          <p:cNvSpPr txBox="1"/>
          <p:nvPr/>
        </p:nvSpPr>
        <p:spPr>
          <a:xfrm>
            <a:off x="7010400" y="1021824"/>
            <a:ext cx="4101492" cy="1646605"/>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200"/>
              </a:spcAft>
              <a:buClrTx/>
              <a:buSzTx/>
              <a:buFontTx/>
              <a:buNone/>
              <a:tabLst/>
              <a:defRPr/>
            </a:pPr>
            <a:r>
              <a:rPr lang="nl-NL" sz="1400">
                <a:solidFill>
                  <a:srgbClr val="1D3B4E"/>
                </a:solidFill>
                <a:latin typeface="Barlow" panose="00000500000000000000" pitchFamily="2" charset="0"/>
              </a:rPr>
              <a:t>Neem dan contact met ons op:</a:t>
            </a:r>
          </a:p>
          <a:p>
            <a:pPr marL="0" marR="0" lvl="0" indent="0" algn="r" defTabSz="457200" rtl="0" eaLnBrk="1" fontAlgn="auto" latinLnBrk="0" hangingPunct="1">
              <a:lnSpc>
                <a:spcPct val="100000"/>
              </a:lnSpc>
              <a:spcBef>
                <a:spcPts val="0"/>
              </a:spcBef>
              <a:spcAft>
                <a:spcPts val="200"/>
              </a:spcAft>
              <a:buClrTx/>
              <a:buSzTx/>
              <a:buFontTx/>
              <a:buNone/>
              <a:tabLst/>
              <a:defRPr/>
            </a:pPr>
            <a:r>
              <a:rPr lang="nl-NL" sz="1400">
                <a:solidFill>
                  <a:srgbClr val="1D3B4E"/>
                </a:solidFill>
                <a:latin typeface="Barlow" panose="00000500000000000000" pitchFamily="2" charset="0"/>
              </a:rPr>
              <a:t>kennisbank.lpz.nu  </a:t>
            </a:r>
            <a:r>
              <a:rPr lang="nl-NL" sz="1400" u="none">
                <a:solidFill>
                  <a:srgbClr val="1D3B4E"/>
                </a:solidFill>
                <a:latin typeface="Barlow" panose="00000500000000000000" pitchFamily="2" charset="0"/>
              </a:rPr>
              <a:t>|  support@lpz.nu</a:t>
            </a:r>
          </a:p>
          <a:p>
            <a:pPr marL="0" marR="0" lvl="0" indent="0" algn="r" defTabSz="457200" rtl="0" eaLnBrk="1" fontAlgn="auto" latinLnBrk="0" hangingPunct="1">
              <a:lnSpc>
                <a:spcPct val="100000"/>
              </a:lnSpc>
              <a:spcBef>
                <a:spcPts val="0"/>
              </a:spcBef>
              <a:spcAft>
                <a:spcPts val="200"/>
              </a:spcAft>
              <a:buClrTx/>
              <a:buSzTx/>
              <a:buFontTx/>
              <a:buNone/>
              <a:tabLst/>
              <a:defRPr/>
            </a:pPr>
            <a:endParaRPr lang="nl-NL" sz="1400">
              <a:solidFill>
                <a:srgbClr val="1D3B4E"/>
              </a:solidFill>
              <a:latin typeface="Barlow" panose="00000500000000000000" pitchFamily="2"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nl-NL"/>
          </a:p>
          <a:p>
            <a:pPr marL="0" marR="0" lvl="0" indent="0" algn="l" defTabSz="457200" rtl="0" eaLnBrk="1" fontAlgn="auto" latinLnBrk="0" hangingPunct="1">
              <a:lnSpc>
                <a:spcPct val="100000"/>
              </a:lnSpc>
              <a:spcBef>
                <a:spcPts val="0"/>
              </a:spcBef>
              <a:spcAft>
                <a:spcPts val="0"/>
              </a:spcAft>
              <a:buClrTx/>
              <a:buSzTx/>
              <a:buFontTx/>
              <a:buNone/>
              <a:tabLst/>
              <a:defRPr/>
            </a:pPr>
            <a:endParaRPr lang="nl-NL"/>
          </a:p>
          <a:p>
            <a:endParaRPr lang="nl-NL"/>
          </a:p>
        </p:txBody>
      </p:sp>
      <p:sp>
        <p:nvSpPr>
          <p:cNvPr id="3" name="Tekstvak 2">
            <a:extLst>
              <a:ext uri="{FF2B5EF4-FFF2-40B4-BE49-F238E27FC236}">
                <a16:creationId xmlns:a16="http://schemas.microsoft.com/office/drawing/2014/main" id="{E6FC6EA3-FA63-B54C-A9CD-92A7A28585B5}"/>
              </a:ext>
            </a:extLst>
          </p:cNvPr>
          <p:cNvSpPr txBox="1"/>
          <p:nvPr/>
        </p:nvSpPr>
        <p:spPr>
          <a:xfrm>
            <a:off x="8610605" y="698305"/>
            <a:ext cx="2415535" cy="369332"/>
          </a:xfrm>
          <a:prstGeom prst="rect">
            <a:avLst/>
          </a:prstGeom>
          <a:noFill/>
        </p:spPr>
        <p:txBody>
          <a:bodyPr wrap="square" rtlCol="0">
            <a:spAutoFit/>
          </a:bodyPr>
          <a:lstStyle/>
          <a:p>
            <a:pPr algn="r"/>
            <a:r>
              <a:rPr lang="nl-NL" sz="1800">
                <a:solidFill>
                  <a:srgbClr val="1D5886"/>
                </a:solidFill>
                <a:latin typeface="Barlow Medium" panose="00000600000000000000" pitchFamily="2" charset="0"/>
              </a:rPr>
              <a:t>VRAGEN?</a:t>
            </a:r>
          </a:p>
        </p:txBody>
      </p:sp>
    </p:spTree>
    <p:extLst>
      <p:ext uri="{BB962C8B-B14F-4D97-AF65-F5344CB8AC3E}">
        <p14:creationId xmlns:p14="http://schemas.microsoft.com/office/powerpoint/2010/main" val="7767269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EEF3BE00-3810-629B-F945-ACD32C864009}"/>
              </a:ext>
            </a:extLst>
          </p:cNvPr>
          <p:cNvSpPr>
            <a:spLocks noGrp="1"/>
          </p:cNvSpPr>
          <p:nvPr>
            <p:ph type="sldNum" sz="quarter" idx="12"/>
          </p:nvPr>
        </p:nvSpPr>
        <p:spPr/>
        <p:txBody>
          <a:bodyPr/>
          <a:lstStyle/>
          <a:p>
            <a:fld id="{69E57DC2-970A-4B3E-BB1C-7A09969E49DF}" type="slidenum">
              <a:rPr lang="nl-NL" smtClean="0"/>
              <a:t>3</a:t>
            </a:fld>
            <a:endParaRPr lang="nl-NL"/>
          </a:p>
        </p:txBody>
      </p:sp>
      <p:sp>
        <p:nvSpPr>
          <p:cNvPr id="4" name="Titel 3">
            <a:extLst>
              <a:ext uri="{FF2B5EF4-FFF2-40B4-BE49-F238E27FC236}">
                <a16:creationId xmlns:a16="http://schemas.microsoft.com/office/drawing/2014/main" id="{C54037BC-2257-69B6-5B44-FF4F45ED235D}"/>
              </a:ext>
            </a:extLst>
          </p:cNvPr>
          <p:cNvSpPr>
            <a:spLocks noGrp="1"/>
          </p:cNvSpPr>
          <p:nvPr>
            <p:ph type="title"/>
          </p:nvPr>
        </p:nvSpPr>
        <p:spPr/>
        <p:txBody>
          <a:bodyPr>
            <a:normAutofit fontScale="90000"/>
          </a:bodyPr>
          <a:lstStyle/>
          <a:p>
            <a:r>
              <a:rPr lang="nl-NL"/>
              <a:t>Introductie LPZ | Wat is het LPZ?</a:t>
            </a:r>
          </a:p>
        </p:txBody>
      </p:sp>
      <p:sp>
        <p:nvSpPr>
          <p:cNvPr id="5" name="Rechthoek: afgeronde hoeken 4">
            <a:extLst>
              <a:ext uri="{FF2B5EF4-FFF2-40B4-BE49-F238E27FC236}">
                <a16:creationId xmlns:a16="http://schemas.microsoft.com/office/drawing/2014/main" id="{578F102C-B578-F180-1165-2F04BE8C4F83}"/>
              </a:ext>
            </a:extLst>
          </p:cNvPr>
          <p:cNvSpPr/>
          <p:nvPr/>
        </p:nvSpPr>
        <p:spPr>
          <a:xfrm>
            <a:off x="7301806" y="3692300"/>
            <a:ext cx="1944300" cy="1823456"/>
          </a:xfrm>
          <a:prstGeom prst="roundRect">
            <a:avLst/>
          </a:prstGeom>
          <a:solidFill>
            <a:srgbClr val="F8FAFB"/>
          </a:solidFill>
          <a:ln>
            <a:solidFill>
              <a:srgbClr val="F8FA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a:p>
          <a:p>
            <a:pPr algn="ctr"/>
            <a:endParaRPr lang="nl-NL" sz="2400"/>
          </a:p>
          <a:p>
            <a:pPr algn="ctr"/>
            <a:endParaRPr lang="nl-NL" sz="2400"/>
          </a:p>
        </p:txBody>
      </p:sp>
      <p:sp>
        <p:nvSpPr>
          <p:cNvPr id="6" name="Rechthoek: afgeronde hoeken 5">
            <a:extLst>
              <a:ext uri="{FF2B5EF4-FFF2-40B4-BE49-F238E27FC236}">
                <a16:creationId xmlns:a16="http://schemas.microsoft.com/office/drawing/2014/main" id="{126AB71E-9BD5-8448-8FFB-7611A6E70566}"/>
              </a:ext>
            </a:extLst>
          </p:cNvPr>
          <p:cNvSpPr/>
          <p:nvPr/>
        </p:nvSpPr>
        <p:spPr>
          <a:xfrm>
            <a:off x="762001" y="1270403"/>
            <a:ext cx="6315988" cy="4509424"/>
          </a:xfrm>
          <a:prstGeom prst="roundRect">
            <a:avLst/>
          </a:prstGeom>
          <a:solidFill>
            <a:srgbClr val="F8FA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2400" b="1">
                <a:solidFill>
                  <a:srgbClr val="1D5886"/>
                </a:solidFill>
                <a:latin typeface="Barlow" pitchFamily="2" charset="77"/>
              </a:rPr>
              <a:t>Inzicht in capaciteit en/of drukte</a:t>
            </a:r>
          </a:p>
          <a:p>
            <a:pPr algn="ctr"/>
            <a:endParaRPr lang="nl-NL" sz="2400"/>
          </a:p>
          <a:p>
            <a:pPr algn="ctr"/>
            <a:endParaRPr lang="nl-NL" sz="2400"/>
          </a:p>
          <a:p>
            <a:pPr algn="ctr"/>
            <a:endParaRPr lang="nl-NL" sz="2400"/>
          </a:p>
          <a:p>
            <a:pPr algn="ctr"/>
            <a:endParaRPr lang="nl-NL" sz="2400"/>
          </a:p>
          <a:p>
            <a:pPr algn="ctr"/>
            <a:endParaRPr lang="nl-NL" sz="2400"/>
          </a:p>
          <a:p>
            <a:pPr algn="ctr"/>
            <a:endParaRPr lang="nl-NL" sz="2400"/>
          </a:p>
          <a:p>
            <a:pPr algn="ctr"/>
            <a:endParaRPr lang="nl-NL" sz="2400"/>
          </a:p>
          <a:p>
            <a:pPr algn="ctr"/>
            <a:endParaRPr lang="nl-NL" sz="2400"/>
          </a:p>
          <a:p>
            <a:pPr algn="ctr"/>
            <a:endParaRPr lang="nl-NL" sz="2400"/>
          </a:p>
          <a:p>
            <a:pPr algn="ctr"/>
            <a:endParaRPr lang="nl-NL" sz="2400"/>
          </a:p>
        </p:txBody>
      </p:sp>
      <p:sp>
        <p:nvSpPr>
          <p:cNvPr id="7" name="Rechthoek: afgeronde hoeken 6">
            <a:extLst>
              <a:ext uri="{FF2B5EF4-FFF2-40B4-BE49-F238E27FC236}">
                <a16:creationId xmlns:a16="http://schemas.microsoft.com/office/drawing/2014/main" id="{47D92AA2-EAFD-FE03-22E2-92E9D2DD7737}"/>
              </a:ext>
            </a:extLst>
          </p:cNvPr>
          <p:cNvSpPr/>
          <p:nvPr/>
        </p:nvSpPr>
        <p:spPr>
          <a:xfrm>
            <a:off x="9385001" y="1592901"/>
            <a:ext cx="1944300" cy="1823456"/>
          </a:xfrm>
          <a:prstGeom prst="roundRect">
            <a:avLst/>
          </a:prstGeom>
          <a:solidFill>
            <a:srgbClr val="F8FAFB"/>
          </a:solidFill>
          <a:ln>
            <a:solidFill>
              <a:srgbClr val="F8FA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a:p>
          <a:p>
            <a:pPr algn="ctr"/>
            <a:endParaRPr lang="nl-NL" sz="2400"/>
          </a:p>
          <a:p>
            <a:pPr algn="ctr"/>
            <a:endParaRPr lang="nl-NL" sz="2400"/>
          </a:p>
        </p:txBody>
      </p:sp>
      <p:pic>
        <p:nvPicPr>
          <p:cNvPr id="8" name="Graphic 7" descr="Ambulance met effen opvulling">
            <a:extLst>
              <a:ext uri="{FF2B5EF4-FFF2-40B4-BE49-F238E27FC236}">
                <a16:creationId xmlns:a16="http://schemas.microsoft.com/office/drawing/2014/main" id="{8B807DFF-91F7-4512-9D28-563A9FE2B0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74443" y="1797744"/>
            <a:ext cx="1149697" cy="1149697"/>
          </a:xfrm>
          <a:prstGeom prst="rect">
            <a:avLst/>
          </a:prstGeom>
        </p:spPr>
      </p:pic>
      <p:pic>
        <p:nvPicPr>
          <p:cNvPr id="9" name="Afbeelding 8" descr="Afbeelding met tekst, schermopname, nummer, Lettertype&#10;&#10;Door AI gegenereerde inhoud is mogelijk onjuist.">
            <a:extLst>
              <a:ext uri="{FF2B5EF4-FFF2-40B4-BE49-F238E27FC236}">
                <a16:creationId xmlns:a16="http://schemas.microsoft.com/office/drawing/2014/main" id="{364BE765-6629-FD82-7F4C-C1AE31596A14}"/>
              </a:ext>
            </a:extLst>
          </p:cNvPr>
          <p:cNvPicPr>
            <a:picLocks noChangeAspect="1"/>
          </p:cNvPicPr>
          <p:nvPr/>
        </p:nvPicPr>
        <p:blipFill>
          <a:blip r:embed="rId5"/>
          <a:srcRect l="2869" t="4534" r="2199" b="5862"/>
          <a:stretch>
            <a:fillRect/>
          </a:stretch>
        </p:blipFill>
        <p:spPr>
          <a:xfrm>
            <a:off x="900895" y="1975234"/>
            <a:ext cx="6038199" cy="3434132"/>
          </a:xfrm>
          <a:prstGeom prst="rect">
            <a:avLst/>
          </a:prstGeom>
        </p:spPr>
      </p:pic>
      <p:pic>
        <p:nvPicPr>
          <p:cNvPr id="10" name="Graphic 9" descr="Baby met effen opvulling">
            <a:extLst>
              <a:ext uri="{FF2B5EF4-FFF2-40B4-BE49-F238E27FC236}">
                <a16:creationId xmlns:a16="http://schemas.microsoft.com/office/drawing/2014/main" id="{5AA40AE1-C356-EAD7-8A78-D3FD91BBB7F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74050" y="3764598"/>
            <a:ext cx="1074653" cy="1074653"/>
          </a:xfrm>
          <a:prstGeom prst="rect">
            <a:avLst/>
          </a:prstGeom>
        </p:spPr>
      </p:pic>
      <p:sp>
        <p:nvSpPr>
          <p:cNvPr id="11" name="Rechthoek: afgeronde hoeken 10">
            <a:extLst>
              <a:ext uri="{FF2B5EF4-FFF2-40B4-BE49-F238E27FC236}">
                <a16:creationId xmlns:a16="http://schemas.microsoft.com/office/drawing/2014/main" id="{F7729752-334F-956D-5917-271FEF46E85D}"/>
              </a:ext>
            </a:extLst>
          </p:cNvPr>
          <p:cNvSpPr/>
          <p:nvPr/>
        </p:nvSpPr>
        <p:spPr>
          <a:xfrm>
            <a:off x="9385001" y="3692300"/>
            <a:ext cx="1944300" cy="1823456"/>
          </a:xfrm>
          <a:prstGeom prst="roundRect">
            <a:avLst/>
          </a:prstGeom>
          <a:solidFill>
            <a:srgbClr val="F8FAFB"/>
          </a:solidFill>
          <a:ln>
            <a:solidFill>
              <a:srgbClr val="F8FA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a:p>
          <a:p>
            <a:pPr algn="ctr"/>
            <a:endParaRPr lang="nl-NL" sz="2400"/>
          </a:p>
          <a:p>
            <a:pPr algn="ctr"/>
            <a:endParaRPr lang="nl-NL" sz="2400"/>
          </a:p>
        </p:txBody>
      </p:sp>
      <p:sp>
        <p:nvSpPr>
          <p:cNvPr id="12" name="Rechthoek: afgeronde hoeken 11">
            <a:extLst>
              <a:ext uri="{FF2B5EF4-FFF2-40B4-BE49-F238E27FC236}">
                <a16:creationId xmlns:a16="http://schemas.microsoft.com/office/drawing/2014/main" id="{53998811-06A2-F0C0-C664-D636283F61B9}"/>
              </a:ext>
            </a:extLst>
          </p:cNvPr>
          <p:cNvSpPr/>
          <p:nvPr/>
        </p:nvSpPr>
        <p:spPr>
          <a:xfrm>
            <a:off x="7305415" y="1605544"/>
            <a:ext cx="1944300" cy="1823456"/>
          </a:xfrm>
          <a:prstGeom prst="roundRect">
            <a:avLst/>
          </a:prstGeom>
          <a:solidFill>
            <a:srgbClr val="F8FAFB"/>
          </a:solidFill>
          <a:ln>
            <a:solidFill>
              <a:srgbClr val="F8FA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a:p>
          <a:p>
            <a:pPr algn="ctr"/>
            <a:endParaRPr lang="nl-NL" sz="2400"/>
          </a:p>
          <a:p>
            <a:pPr algn="ctr"/>
            <a:endParaRPr lang="nl-NL" sz="2400"/>
          </a:p>
        </p:txBody>
      </p:sp>
      <p:pic>
        <p:nvPicPr>
          <p:cNvPr id="13" name="Graphic 12" descr="Ziekenhuis met effen opvulling">
            <a:extLst>
              <a:ext uri="{FF2B5EF4-FFF2-40B4-BE49-F238E27FC236}">
                <a16:creationId xmlns:a16="http://schemas.microsoft.com/office/drawing/2014/main" id="{787C8FBC-E9B6-C376-EA68-35AD750FEA3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74050" y="1858157"/>
            <a:ext cx="1028872" cy="1028872"/>
          </a:xfrm>
          <a:prstGeom prst="rect">
            <a:avLst/>
          </a:prstGeom>
        </p:spPr>
      </p:pic>
      <p:sp>
        <p:nvSpPr>
          <p:cNvPr id="14" name="Tekstvak 13">
            <a:extLst>
              <a:ext uri="{FF2B5EF4-FFF2-40B4-BE49-F238E27FC236}">
                <a16:creationId xmlns:a16="http://schemas.microsoft.com/office/drawing/2014/main" id="{7C0DC036-21FD-C69A-D4AE-393EA06239CA}"/>
              </a:ext>
            </a:extLst>
          </p:cNvPr>
          <p:cNvSpPr txBox="1"/>
          <p:nvPr/>
        </p:nvSpPr>
        <p:spPr>
          <a:xfrm>
            <a:off x="7552390" y="2868660"/>
            <a:ext cx="1527450" cy="369332"/>
          </a:xfrm>
          <a:prstGeom prst="rect">
            <a:avLst/>
          </a:prstGeom>
          <a:noFill/>
        </p:spPr>
        <p:txBody>
          <a:bodyPr wrap="square" rtlCol="0">
            <a:spAutoFit/>
          </a:bodyPr>
          <a:lstStyle/>
          <a:p>
            <a:r>
              <a:rPr lang="nl-NL">
                <a:solidFill>
                  <a:srgbClr val="1D5886"/>
                </a:solidFill>
                <a:latin typeface="Barlow" pitchFamily="2" charset="77"/>
              </a:rPr>
              <a:t>Ziekenhuizen</a:t>
            </a:r>
          </a:p>
        </p:txBody>
      </p:sp>
      <p:sp>
        <p:nvSpPr>
          <p:cNvPr id="15" name="Tekstvak 14">
            <a:extLst>
              <a:ext uri="{FF2B5EF4-FFF2-40B4-BE49-F238E27FC236}">
                <a16:creationId xmlns:a16="http://schemas.microsoft.com/office/drawing/2014/main" id="{85A81290-EC24-B439-9583-CA7B961D1AC7}"/>
              </a:ext>
            </a:extLst>
          </p:cNvPr>
          <p:cNvSpPr txBox="1"/>
          <p:nvPr/>
        </p:nvSpPr>
        <p:spPr>
          <a:xfrm>
            <a:off x="9806183" y="2855540"/>
            <a:ext cx="1388554" cy="369332"/>
          </a:xfrm>
          <a:prstGeom prst="rect">
            <a:avLst/>
          </a:prstGeom>
          <a:noFill/>
        </p:spPr>
        <p:txBody>
          <a:bodyPr wrap="square" rtlCol="0">
            <a:spAutoFit/>
          </a:bodyPr>
          <a:lstStyle/>
          <a:p>
            <a:r>
              <a:rPr lang="nl-NL">
                <a:solidFill>
                  <a:srgbClr val="1D5886"/>
                </a:solidFill>
                <a:latin typeface="Barlow" pitchFamily="2" charset="77"/>
              </a:rPr>
              <a:t>Ambulance</a:t>
            </a:r>
          </a:p>
        </p:txBody>
      </p:sp>
      <p:sp>
        <p:nvSpPr>
          <p:cNvPr id="16" name="Tekstvak 15">
            <a:extLst>
              <a:ext uri="{FF2B5EF4-FFF2-40B4-BE49-F238E27FC236}">
                <a16:creationId xmlns:a16="http://schemas.microsoft.com/office/drawing/2014/main" id="{D35D0651-6D61-01FA-E886-E7119E9F023D}"/>
              </a:ext>
            </a:extLst>
          </p:cNvPr>
          <p:cNvSpPr txBox="1"/>
          <p:nvPr/>
        </p:nvSpPr>
        <p:spPr>
          <a:xfrm>
            <a:off x="7478721" y="4911549"/>
            <a:ext cx="1767385" cy="369332"/>
          </a:xfrm>
          <a:prstGeom prst="rect">
            <a:avLst/>
          </a:prstGeom>
          <a:noFill/>
        </p:spPr>
        <p:txBody>
          <a:bodyPr wrap="square" rtlCol="0">
            <a:spAutoFit/>
          </a:bodyPr>
          <a:lstStyle/>
          <a:p>
            <a:r>
              <a:rPr lang="nl-NL">
                <a:solidFill>
                  <a:srgbClr val="1D5886"/>
                </a:solidFill>
                <a:latin typeface="Barlow" pitchFamily="2" charset="77"/>
              </a:rPr>
              <a:t>Verloskundigen</a:t>
            </a:r>
          </a:p>
        </p:txBody>
      </p:sp>
      <p:pic>
        <p:nvPicPr>
          <p:cNvPr id="17" name="Graphic 16" descr="Vrouwelijke arts met effen opvulling">
            <a:extLst>
              <a:ext uri="{FF2B5EF4-FFF2-40B4-BE49-F238E27FC236}">
                <a16:creationId xmlns:a16="http://schemas.microsoft.com/office/drawing/2014/main" id="{DCFA31A7-3E93-3455-100D-ABA0FA8EF9F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899951" y="3896787"/>
            <a:ext cx="914400" cy="914400"/>
          </a:xfrm>
          <a:prstGeom prst="rect">
            <a:avLst/>
          </a:prstGeom>
        </p:spPr>
      </p:pic>
      <p:sp>
        <p:nvSpPr>
          <p:cNvPr id="18" name="Tekstvak 17">
            <a:extLst>
              <a:ext uri="{FF2B5EF4-FFF2-40B4-BE49-F238E27FC236}">
                <a16:creationId xmlns:a16="http://schemas.microsoft.com/office/drawing/2014/main" id="{78187330-460E-57F3-0F53-1FE806393991}"/>
              </a:ext>
            </a:extLst>
          </p:cNvPr>
          <p:cNvSpPr txBox="1"/>
          <p:nvPr/>
        </p:nvSpPr>
        <p:spPr>
          <a:xfrm>
            <a:off x="9737845" y="4811187"/>
            <a:ext cx="1767385" cy="646331"/>
          </a:xfrm>
          <a:prstGeom prst="rect">
            <a:avLst/>
          </a:prstGeom>
          <a:noFill/>
        </p:spPr>
        <p:txBody>
          <a:bodyPr wrap="square" rtlCol="0">
            <a:spAutoFit/>
          </a:bodyPr>
          <a:lstStyle/>
          <a:p>
            <a:r>
              <a:rPr lang="nl-NL">
                <a:solidFill>
                  <a:srgbClr val="1D5886"/>
                </a:solidFill>
                <a:latin typeface="Barlow" pitchFamily="2" charset="77"/>
              </a:rPr>
              <a:t>Huisartsen / spoedposten</a:t>
            </a:r>
          </a:p>
        </p:txBody>
      </p:sp>
    </p:spTree>
    <p:extLst>
      <p:ext uri="{BB962C8B-B14F-4D97-AF65-F5344CB8AC3E}">
        <p14:creationId xmlns:p14="http://schemas.microsoft.com/office/powerpoint/2010/main" val="40203173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C1F83B75-52A6-E704-5847-46E31DC6BFFA}"/>
              </a:ext>
            </a:extLst>
          </p:cNvPr>
          <p:cNvSpPr>
            <a:spLocks noGrp="1"/>
          </p:cNvSpPr>
          <p:nvPr>
            <p:ph type="sldNum" sz="quarter" idx="12"/>
          </p:nvPr>
        </p:nvSpPr>
        <p:spPr/>
        <p:txBody>
          <a:bodyPr/>
          <a:lstStyle/>
          <a:p>
            <a:fld id="{69E57DC2-970A-4B3E-BB1C-7A09969E49DF}" type="slidenum">
              <a:rPr lang="nl-NL" smtClean="0"/>
              <a:t>4</a:t>
            </a:fld>
            <a:endParaRPr lang="nl-NL"/>
          </a:p>
        </p:txBody>
      </p:sp>
      <p:sp>
        <p:nvSpPr>
          <p:cNvPr id="4" name="Titel 3">
            <a:extLst>
              <a:ext uri="{FF2B5EF4-FFF2-40B4-BE49-F238E27FC236}">
                <a16:creationId xmlns:a16="http://schemas.microsoft.com/office/drawing/2014/main" id="{E1183768-B722-BA3B-389E-D233711A22BB}"/>
              </a:ext>
            </a:extLst>
          </p:cNvPr>
          <p:cNvSpPr>
            <a:spLocks noGrp="1"/>
          </p:cNvSpPr>
          <p:nvPr>
            <p:ph type="title"/>
          </p:nvPr>
        </p:nvSpPr>
        <p:spPr/>
        <p:txBody>
          <a:bodyPr>
            <a:normAutofit fontScale="90000"/>
          </a:bodyPr>
          <a:lstStyle/>
          <a:p>
            <a:r>
              <a:rPr lang="nl-NL"/>
              <a:t>Introductie LPZ | Voor wie is het LPZ?</a:t>
            </a:r>
          </a:p>
        </p:txBody>
      </p:sp>
      <p:sp>
        <p:nvSpPr>
          <p:cNvPr id="5" name="Rechthoek 4">
            <a:extLst>
              <a:ext uri="{FF2B5EF4-FFF2-40B4-BE49-F238E27FC236}">
                <a16:creationId xmlns:a16="http://schemas.microsoft.com/office/drawing/2014/main" id="{99EB6394-A27F-CEF1-E6B4-67E16DA87E57}"/>
              </a:ext>
            </a:extLst>
          </p:cNvPr>
          <p:cNvSpPr/>
          <p:nvPr/>
        </p:nvSpPr>
        <p:spPr>
          <a:xfrm>
            <a:off x="918771" y="4360735"/>
            <a:ext cx="3460173" cy="10118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Barlow" panose="00000500000000000000" pitchFamily="2" charset="0"/>
            </a:endParaRPr>
          </a:p>
        </p:txBody>
      </p:sp>
      <p:grpSp>
        <p:nvGrpSpPr>
          <p:cNvPr id="6" name="Groep 5">
            <a:extLst>
              <a:ext uri="{FF2B5EF4-FFF2-40B4-BE49-F238E27FC236}">
                <a16:creationId xmlns:a16="http://schemas.microsoft.com/office/drawing/2014/main" id="{D86C6366-0138-EA74-D846-13CA5FB79ACF}"/>
              </a:ext>
            </a:extLst>
          </p:cNvPr>
          <p:cNvGrpSpPr/>
          <p:nvPr/>
        </p:nvGrpSpPr>
        <p:grpSpPr>
          <a:xfrm>
            <a:off x="1262466" y="5084259"/>
            <a:ext cx="3452302" cy="612002"/>
            <a:chOff x="1371600" y="1288497"/>
            <a:chExt cx="3452302" cy="612002"/>
          </a:xfrm>
        </p:grpSpPr>
        <p:pic>
          <p:nvPicPr>
            <p:cNvPr id="7" name="Graphic 6" descr="COVID-19 met effen opvulling">
              <a:extLst>
                <a:ext uri="{FF2B5EF4-FFF2-40B4-BE49-F238E27FC236}">
                  <a16:creationId xmlns:a16="http://schemas.microsoft.com/office/drawing/2014/main" id="{4C8E0A09-526D-BABE-1F2E-F2A5A91292E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71600" y="1288497"/>
              <a:ext cx="612002" cy="612002"/>
            </a:xfrm>
            <a:prstGeom prst="rect">
              <a:avLst/>
            </a:prstGeom>
          </p:spPr>
        </p:pic>
        <p:sp>
          <p:nvSpPr>
            <p:cNvPr id="8" name="Title 4">
              <a:extLst>
                <a:ext uri="{FF2B5EF4-FFF2-40B4-BE49-F238E27FC236}">
                  <a16:creationId xmlns:a16="http://schemas.microsoft.com/office/drawing/2014/main" id="{A56A3308-B40B-10DD-FE73-2044E9E261A0}"/>
                </a:ext>
              </a:extLst>
            </p:cNvPr>
            <p:cNvSpPr txBox="1"/>
            <p:nvPr/>
          </p:nvSpPr>
          <p:spPr>
            <a:xfrm>
              <a:off x="2198584" y="1401404"/>
              <a:ext cx="2625318" cy="374650"/>
            </a:xfrm>
            <a:prstGeom prst="rect">
              <a:avLst/>
            </a:prstGeom>
            <a:ln>
              <a:noFill/>
            </a:ln>
          </p:spPr>
          <p:txBody>
            <a:bodyPr vert="horz" lIns="0" tIns="0" rIns="0" bIns="0" rtlCol="0" anchor="ctr">
              <a:noAutofit/>
            </a:bodyPr>
            <a:lstStyle>
              <a:defPPr>
                <a:defRPr lang="en-US"/>
              </a:defPPr>
              <a:lvl1pPr marL="0" marR="0" lvl="0" indent="0" algn="l" defTabSz="801563" rtl="0" eaLnBrk="1" fontAlgn="auto" latinLnBrk="0" hangingPunct="1">
                <a:lnSpc>
                  <a:spcPct val="90000"/>
                </a:lnSpc>
                <a:spcBef>
                  <a:spcPct val="0"/>
                </a:spcBef>
                <a:spcAft>
                  <a:spcPct val="0"/>
                </a:spcAft>
                <a:buClrTx/>
                <a:buSzTx/>
                <a:buFontTx/>
                <a:buNone/>
                <a:defRPr kumimoji="0" sz="1800" b="0" i="0" u="none" strike="noStrike" kern="1200" cap="none" spc="0" normalizeH="0" baseline="0">
                  <a:ln>
                    <a:noFill/>
                  </a:ln>
                  <a:solidFill>
                    <a:srgbClr val="27254C"/>
                  </a:solidFill>
                  <a:effectLst/>
                  <a:uLnTx/>
                  <a:uFillTx/>
                  <a:latin typeface="HelveticaNowDisplay Bold" panose="020B0804030202020204" pitchFamily="34" charset="0"/>
                  <a:ea typeface="+mj-ea"/>
                  <a:cs typeface="HelveticaNowDisplay Bold" panose="020B0804030202020204" pitchFamily="34" charset="0"/>
                </a:defRPr>
              </a:lvl1pPr>
            </a:lstStyle>
            <a:p>
              <a:pPr>
                <a:defRPr kumimoji="0" sz="1800" b="0" i="0" u="none" strike="noStrike" cap="none" spc="0" normalizeH="0" baseline="0" noProof="0">
                  <a:ln>
                    <a:noFill/>
                  </a:ln>
                  <a:solidFill>
                    <a:srgbClr val="27254C"/>
                  </a:solidFill>
                  <a:uLnTx/>
                  <a:uFillTx/>
                  <a:latin typeface="HelveticaNowDisplay Bold" panose="020B0804030202020204" pitchFamily="34" charset="0"/>
                  <a:ea typeface="+mj-ea"/>
                  <a:cs typeface="HelveticaNowDisplay Bold" panose="020B0804030202020204" pitchFamily="34" charset="0"/>
                </a:defRPr>
              </a:pPr>
              <a:r>
                <a:rPr lang="nl-NL">
                  <a:solidFill>
                    <a:schemeClr val="tx1">
                      <a:lumMod val="50000"/>
                      <a:lumOff val="50000"/>
                    </a:schemeClr>
                  </a:solidFill>
                  <a:latin typeface="Barlow" panose="00000500000000000000" pitchFamily="2" charset="0"/>
                </a:rPr>
                <a:t>Covid module</a:t>
              </a:r>
            </a:p>
          </p:txBody>
        </p:sp>
      </p:grpSp>
      <p:grpSp>
        <p:nvGrpSpPr>
          <p:cNvPr id="9" name="Groep 8">
            <a:extLst>
              <a:ext uri="{FF2B5EF4-FFF2-40B4-BE49-F238E27FC236}">
                <a16:creationId xmlns:a16="http://schemas.microsoft.com/office/drawing/2014/main" id="{7646FBA0-14A1-D1CF-A0D1-6D6F0032DE5F}"/>
              </a:ext>
            </a:extLst>
          </p:cNvPr>
          <p:cNvGrpSpPr/>
          <p:nvPr/>
        </p:nvGrpSpPr>
        <p:grpSpPr>
          <a:xfrm>
            <a:off x="1264028" y="1970327"/>
            <a:ext cx="3452302" cy="612001"/>
            <a:chOff x="1371600" y="2669414"/>
            <a:chExt cx="3452302" cy="612001"/>
          </a:xfrm>
        </p:grpSpPr>
        <p:pic>
          <p:nvPicPr>
            <p:cNvPr id="10" name="Graphic 9" descr="Ambulance met effen opvulling">
              <a:extLst>
                <a:ext uri="{FF2B5EF4-FFF2-40B4-BE49-F238E27FC236}">
                  <a16:creationId xmlns:a16="http://schemas.microsoft.com/office/drawing/2014/main" id="{E0F3BE25-085A-6EB7-5C1C-0901A010A1B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371600" y="2669414"/>
              <a:ext cx="612001" cy="612001"/>
            </a:xfrm>
            <a:prstGeom prst="rect">
              <a:avLst/>
            </a:prstGeom>
          </p:spPr>
        </p:pic>
        <p:sp>
          <p:nvSpPr>
            <p:cNvPr id="11" name="Title 4">
              <a:extLst>
                <a:ext uri="{FF2B5EF4-FFF2-40B4-BE49-F238E27FC236}">
                  <a16:creationId xmlns:a16="http://schemas.microsoft.com/office/drawing/2014/main" id="{7DF618E4-FD4C-639A-C0DF-D6510EEDD606}"/>
                </a:ext>
              </a:extLst>
            </p:cNvPr>
            <p:cNvSpPr txBox="1"/>
            <p:nvPr/>
          </p:nvSpPr>
          <p:spPr>
            <a:xfrm>
              <a:off x="2198584" y="2788089"/>
              <a:ext cx="2625318" cy="374650"/>
            </a:xfrm>
            <a:prstGeom prst="rect">
              <a:avLst/>
            </a:prstGeom>
            <a:ln>
              <a:noFill/>
            </a:ln>
          </p:spPr>
          <p:txBody>
            <a:bodyPr vert="horz" lIns="0" tIns="0" rIns="0" bIns="0" rtlCol="0" anchor="ctr">
              <a:noAutofit/>
            </a:bodyPr>
            <a:lstStyle>
              <a:defPPr>
                <a:defRPr lang="en-US"/>
              </a:defPPr>
              <a:lvl1pPr marL="0" marR="0" lvl="0" indent="0" algn="l" defTabSz="801563" rtl="0" eaLnBrk="1" fontAlgn="auto" latinLnBrk="0" hangingPunct="1">
                <a:lnSpc>
                  <a:spcPct val="90000"/>
                </a:lnSpc>
                <a:spcBef>
                  <a:spcPct val="0"/>
                </a:spcBef>
                <a:spcAft>
                  <a:spcPct val="0"/>
                </a:spcAft>
                <a:buClrTx/>
                <a:buSzTx/>
                <a:buFontTx/>
                <a:buNone/>
                <a:defRPr kumimoji="0" sz="1800" b="0" i="0" u="none" strike="noStrike" kern="1200" cap="none" spc="0" normalizeH="0" baseline="0">
                  <a:ln>
                    <a:noFill/>
                  </a:ln>
                  <a:solidFill>
                    <a:srgbClr val="27254C"/>
                  </a:solidFill>
                  <a:effectLst/>
                  <a:uLnTx/>
                  <a:uFillTx/>
                  <a:latin typeface="HelveticaNowDisplay Bold" panose="020B0804030202020204" pitchFamily="34" charset="0"/>
                  <a:ea typeface="+mj-ea"/>
                  <a:cs typeface="HelveticaNowDisplay Bold" panose="020B0804030202020204" pitchFamily="34" charset="0"/>
                </a:defRPr>
              </a:lvl1pPr>
            </a:lstStyle>
            <a:p>
              <a:pPr marL="0" marR="0" lvl="0" indent="0" algn="l" defTabSz="801563" fontAlgn="auto">
                <a:lnSpc>
                  <a:spcPct val="90000"/>
                </a:lnSpc>
                <a:spcBef>
                  <a:spcPct val="0"/>
                </a:spcBef>
                <a:spcAft>
                  <a:spcPct val="0"/>
                </a:spcAft>
                <a:buSzTx/>
                <a:buNone/>
                <a:defRPr kumimoji="0" sz="1800" b="0" i="0" u="none" strike="noStrike" cap="none" spc="0" normalizeH="0" baseline="0" noProof="0">
                  <a:ln>
                    <a:noFill/>
                  </a:ln>
                  <a:solidFill>
                    <a:srgbClr val="27254C"/>
                  </a:solidFill>
                  <a:uLnTx/>
                  <a:uFillTx/>
                  <a:latin typeface="HelveticaNowDisplay Bold" panose="020B0804030202020204" pitchFamily="34" charset="0"/>
                  <a:ea typeface="+mj-ea"/>
                  <a:cs typeface="HelveticaNowDisplay Bold" panose="020B0804030202020204" pitchFamily="34" charset="0"/>
                </a:defRPr>
              </a:pPr>
              <a:r>
                <a:rPr kumimoji="0" lang="nl-NL" sz="1800" i="0" u="none" strike="noStrike" cap="none" spc="0" normalizeH="0" baseline="0">
                  <a:ln>
                    <a:noFill/>
                  </a:ln>
                  <a:solidFill>
                    <a:schemeClr val="tx1">
                      <a:lumMod val="50000"/>
                      <a:lumOff val="50000"/>
                    </a:schemeClr>
                  </a:solidFill>
                  <a:uLnTx/>
                  <a:uFillTx/>
                  <a:latin typeface="Barlow" panose="00000500000000000000" pitchFamily="2" charset="0"/>
                  <a:cs typeface="HelveticaNowDisplay ExtraBold" panose="020B0904030202020204" pitchFamily="34" charset="0"/>
                </a:rPr>
                <a:t>Spoed module</a:t>
              </a:r>
            </a:p>
          </p:txBody>
        </p:sp>
      </p:grpSp>
      <p:grpSp>
        <p:nvGrpSpPr>
          <p:cNvPr id="12" name="Groep 11">
            <a:extLst>
              <a:ext uri="{FF2B5EF4-FFF2-40B4-BE49-F238E27FC236}">
                <a16:creationId xmlns:a16="http://schemas.microsoft.com/office/drawing/2014/main" id="{7A36619C-025C-9593-FC8B-6187317F334F}"/>
              </a:ext>
            </a:extLst>
          </p:cNvPr>
          <p:cNvGrpSpPr/>
          <p:nvPr/>
        </p:nvGrpSpPr>
        <p:grpSpPr>
          <a:xfrm>
            <a:off x="1262471" y="3149342"/>
            <a:ext cx="3865007" cy="612001"/>
            <a:chOff x="1494852" y="4082444"/>
            <a:chExt cx="3329050" cy="612001"/>
          </a:xfrm>
        </p:grpSpPr>
        <p:pic>
          <p:nvPicPr>
            <p:cNvPr id="13" name="Graphic 12" descr="Slapen met effen opvulling">
              <a:extLst>
                <a:ext uri="{FF2B5EF4-FFF2-40B4-BE49-F238E27FC236}">
                  <a16:creationId xmlns:a16="http://schemas.microsoft.com/office/drawing/2014/main" id="{7928AE47-FFB0-3AA7-9E5B-4D829B25D91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494852" y="4082444"/>
              <a:ext cx="507111" cy="612001"/>
            </a:xfrm>
            <a:prstGeom prst="rect">
              <a:avLst/>
            </a:prstGeom>
          </p:spPr>
        </p:pic>
        <p:sp>
          <p:nvSpPr>
            <p:cNvPr id="14" name="Title 4">
              <a:extLst>
                <a:ext uri="{FF2B5EF4-FFF2-40B4-BE49-F238E27FC236}">
                  <a16:creationId xmlns:a16="http://schemas.microsoft.com/office/drawing/2014/main" id="{94835994-27A3-3BB9-AB7F-A86E3C564463}"/>
                </a:ext>
              </a:extLst>
            </p:cNvPr>
            <p:cNvSpPr txBox="1"/>
            <p:nvPr/>
          </p:nvSpPr>
          <p:spPr>
            <a:xfrm>
              <a:off x="2198584" y="4175891"/>
              <a:ext cx="2625318" cy="374650"/>
            </a:xfrm>
            <a:prstGeom prst="rect">
              <a:avLst/>
            </a:prstGeom>
            <a:ln>
              <a:noFill/>
            </a:ln>
          </p:spPr>
          <p:txBody>
            <a:bodyPr vert="horz" lIns="0" tIns="0" rIns="0" bIns="0" rtlCol="0" anchor="ctr">
              <a:noAutofit/>
            </a:bodyPr>
            <a:lstStyle>
              <a:defPPr>
                <a:defRPr lang="en-US"/>
              </a:defPPr>
              <a:lvl1pPr marL="0" marR="0" lvl="0" indent="0" algn="l" defTabSz="801563" rtl="0" eaLnBrk="1" fontAlgn="auto" latinLnBrk="0" hangingPunct="1">
                <a:lnSpc>
                  <a:spcPct val="90000"/>
                </a:lnSpc>
                <a:spcBef>
                  <a:spcPct val="0"/>
                </a:spcBef>
                <a:spcAft>
                  <a:spcPct val="0"/>
                </a:spcAft>
                <a:buClrTx/>
                <a:buSzTx/>
                <a:buFontTx/>
                <a:buNone/>
                <a:defRPr kumimoji="0" sz="1800" b="0" i="0" u="none" strike="noStrike" kern="1200" cap="none" spc="0" normalizeH="0" baseline="0">
                  <a:ln>
                    <a:noFill/>
                  </a:ln>
                  <a:solidFill>
                    <a:srgbClr val="27254C"/>
                  </a:solidFill>
                  <a:effectLst/>
                  <a:uLnTx/>
                  <a:uFillTx/>
                  <a:latin typeface="HelveticaNowDisplay Bold" panose="020B0804030202020204" pitchFamily="34" charset="0"/>
                  <a:ea typeface="+mj-ea"/>
                  <a:cs typeface="HelveticaNowDisplay Bold" panose="020B0804030202020204" pitchFamily="34" charset="0"/>
                </a:defRPr>
              </a:lvl1pPr>
            </a:lstStyle>
            <a:p>
              <a:pPr marL="0" marR="0" lvl="0" indent="0" algn="l" defTabSz="801563" fontAlgn="auto">
                <a:lnSpc>
                  <a:spcPct val="90000"/>
                </a:lnSpc>
                <a:spcBef>
                  <a:spcPct val="0"/>
                </a:spcBef>
                <a:spcAft>
                  <a:spcPct val="0"/>
                </a:spcAft>
                <a:buSzTx/>
                <a:buNone/>
                <a:defRPr kumimoji="0" sz="1800" b="0" i="0" u="none" strike="noStrike" cap="none" spc="0" normalizeH="0" baseline="0" noProof="0">
                  <a:ln>
                    <a:noFill/>
                  </a:ln>
                  <a:solidFill>
                    <a:srgbClr val="27254C"/>
                  </a:solidFill>
                  <a:uLnTx/>
                  <a:uFillTx/>
                  <a:latin typeface="HelveticaNowDisplay Bold" panose="020B0804030202020204" pitchFamily="34" charset="0"/>
                  <a:ea typeface="+mj-ea"/>
                  <a:cs typeface="HelveticaNowDisplay Bold" panose="020B0804030202020204" pitchFamily="34" charset="0"/>
                </a:defRPr>
              </a:pPr>
              <a:r>
                <a:rPr kumimoji="0" lang="nl-NL" sz="1800" i="0" u="none" strike="noStrike" cap="none" spc="0" normalizeH="0" baseline="0">
                  <a:ln>
                    <a:noFill/>
                  </a:ln>
                  <a:solidFill>
                    <a:schemeClr val="tx1">
                      <a:lumMod val="50000"/>
                      <a:lumOff val="50000"/>
                    </a:schemeClr>
                  </a:solidFill>
                  <a:uLnTx/>
                  <a:uFillTx/>
                  <a:latin typeface="Barlow" panose="00000500000000000000" pitchFamily="2" charset="0"/>
                  <a:cs typeface="HelveticaNowDisplay ExtraBold" panose="020B0904030202020204" pitchFamily="34" charset="0"/>
                </a:rPr>
                <a:t>Kliniek module, waaronder:</a:t>
              </a:r>
            </a:p>
            <a:p>
              <a:pPr marL="285750" marR="0" lvl="0" indent="-285750" algn="l" defTabSz="801563" fontAlgn="auto">
                <a:lnSpc>
                  <a:spcPct val="90000"/>
                </a:lnSpc>
                <a:spcBef>
                  <a:spcPct val="0"/>
                </a:spcBef>
                <a:spcAft>
                  <a:spcPct val="0"/>
                </a:spcAft>
                <a:buSzTx/>
                <a:buFont typeface="Arial" panose="020B0604020202020204" pitchFamily="34" charset="0"/>
                <a:buChar char="•"/>
                <a:defRPr kumimoji="0" sz="1800" b="0" i="0" u="none" strike="noStrike" cap="none" spc="0" normalizeH="0" baseline="0" noProof="0">
                  <a:ln>
                    <a:noFill/>
                  </a:ln>
                  <a:solidFill>
                    <a:srgbClr val="27254C"/>
                  </a:solidFill>
                  <a:uLnTx/>
                  <a:uFillTx/>
                  <a:latin typeface="HelveticaNowDisplay Bold" panose="020B0804030202020204" pitchFamily="34" charset="0"/>
                  <a:ea typeface="+mj-ea"/>
                  <a:cs typeface="HelveticaNowDisplay Bold" panose="020B0804030202020204" pitchFamily="34" charset="0"/>
                </a:defRPr>
              </a:pPr>
              <a:r>
                <a:rPr lang="nl-NL">
                  <a:solidFill>
                    <a:schemeClr val="tx1">
                      <a:lumMod val="50000"/>
                      <a:lumOff val="50000"/>
                    </a:schemeClr>
                  </a:solidFill>
                  <a:latin typeface="Barlow" panose="00000500000000000000" pitchFamily="2" charset="0"/>
                  <a:cs typeface="HelveticaNowDisplay ExtraBold" panose="020B0904030202020204" pitchFamily="34" charset="0"/>
                </a:rPr>
                <a:t>IC</a:t>
              </a:r>
            </a:p>
            <a:p>
              <a:pPr marL="285750" marR="0" lvl="0" indent="-285750" algn="l" defTabSz="801563" fontAlgn="auto">
                <a:lnSpc>
                  <a:spcPct val="90000"/>
                </a:lnSpc>
                <a:spcBef>
                  <a:spcPct val="0"/>
                </a:spcBef>
                <a:spcAft>
                  <a:spcPct val="0"/>
                </a:spcAft>
                <a:buSzTx/>
                <a:buFont typeface="Arial" panose="020B0604020202020204" pitchFamily="34" charset="0"/>
                <a:buChar char="•"/>
                <a:defRPr kumimoji="0" sz="1800" b="0" i="0" u="none" strike="noStrike" cap="none" spc="0" normalizeH="0" baseline="0" noProof="0">
                  <a:ln>
                    <a:noFill/>
                  </a:ln>
                  <a:solidFill>
                    <a:srgbClr val="27254C"/>
                  </a:solidFill>
                  <a:uLnTx/>
                  <a:uFillTx/>
                  <a:latin typeface="HelveticaNowDisplay Bold" panose="020B0804030202020204" pitchFamily="34" charset="0"/>
                  <a:ea typeface="+mj-ea"/>
                  <a:cs typeface="HelveticaNowDisplay Bold" panose="020B0804030202020204" pitchFamily="34" charset="0"/>
                </a:defRPr>
              </a:pPr>
              <a:r>
                <a:rPr lang="nl-NL">
                  <a:solidFill>
                    <a:schemeClr val="tx1">
                      <a:lumMod val="50000"/>
                      <a:lumOff val="50000"/>
                    </a:schemeClr>
                  </a:solidFill>
                  <a:latin typeface="Barlow" panose="00000500000000000000" pitchFamily="2" charset="0"/>
                  <a:cs typeface="HelveticaNowDisplay ExtraBold" panose="020B0904030202020204" pitchFamily="34" charset="0"/>
                </a:rPr>
                <a:t>PICU</a:t>
              </a:r>
            </a:p>
            <a:p>
              <a:pPr marL="285750" marR="0" lvl="0" indent="-285750" algn="l" defTabSz="801563" fontAlgn="auto">
                <a:lnSpc>
                  <a:spcPct val="90000"/>
                </a:lnSpc>
                <a:spcBef>
                  <a:spcPct val="0"/>
                </a:spcBef>
                <a:spcAft>
                  <a:spcPct val="0"/>
                </a:spcAft>
                <a:buSzTx/>
                <a:buFont typeface="Arial" panose="020B0604020202020204" pitchFamily="34" charset="0"/>
                <a:buChar char="•"/>
                <a:defRPr kumimoji="0" sz="1800" b="0" i="0" u="none" strike="noStrike" cap="none" spc="0" normalizeH="0" baseline="0" noProof="0">
                  <a:ln>
                    <a:noFill/>
                  </a:ln>
                  <a:solidFill>
                    <a:srgbClr val="27254C"/>
                  </a:solidFill>
                  <a:uLnTx/>
                  <a:uFillTx/>
                  <a:latin typeface="HelveticaNowDisplay Bold" panose="020B0804030202020204" pitchFamily="34" charset="0"/>
                  <a:ea typeface="+mj-ea"/>
                  <a:cs typeface="HelveticaNowDisplay Bold" panose="020B0804030202020204" pitchFamily="34" charset="0"/>
                </a:defRPr>
              </a:pPr>
              <a:r>
                <a:rPr lang="nl-NL">
                  <a:solidFill>
                    <a:schemeClr val="tx1">
                      <a:lumMod val="50000"/>
                      <a:lumOff val="50000"/>
                    </a:schemeClr>
                  </a:solidFill>
                  <a:latin typeface="Barlow" panose="00000500000000000000" pitchFamily="2" charset="0"/>
                  <a:cs typeface="HelveticaNowDisplay ExtraBold" panose="020B0904030202020204" pitchFamily="34" charset="0"/>
                </a:rPr>
                <a:t>NICU</a:t>
              </a:r>
            </a:p>
            <a:p>
              <a:pPr marL="285750" marR="0" lvl="0" indent="-285750" algn="l" defTabSz="801563" fontAlgn="auto">
                <a:lnSpc>
                  <a:spcPct val="90000"/>
                </a:lnSpc>
                <a:spcBef>
                  <a:spcPct val="0"/>
                </a:spcBef>
                <a:spcAft>
                  <a:spcPct val="0"/>
                </a:spcAft>
                <a:buSzTx/>
                <a:buFont typeface="Arial" panose="020B0604020202020204" pitchFamily="34" charset="0"/>
                <a:buChar char="•"/>
                <a:defRPr kumimoji="0" sz="1800" b="0" i="0" u="none" strike="noStrike" cap="none" spc="0" normalizeH="0" baseline="0" noProof="0">
                  <a:ln>
                    <a:noFill/>
                  </a:ln>
                  <a:solidFill>
                    <a:srgbClr val="27254C"/>
                  </a:solidFill>
                  <a:uLnTx/>
                  <a:uFillTx/>
                  <a:latin typeface="HelveticaNowDisplay Bold" panose="020B0804030202020204" pitchFamily="34" charset="0"/>
                  <a:ea typeface="+mj-ea"/>
                  <a:cs typeface="HelveticaNowDisplay Bold" panose="020B0804030202020204" pitchFamily="34" charset="0"/>
                </a:defRPr>
              </a:pPr>
              <a:r>
                <a:rPr kumimoji="0" lang="nl-NL" sz="1800" i="0" u="none" strike="noStrike" cap="none" spc="0" normalizeH="0" baseline="0">
                  <a:ln>
                    <a:noFill/>
                  </a:ln>
                  <a:solidFill>
                    <a:schemeClr val="tx1">
                      <a:lumMod val="50000"/>
                      <a:lumOff val="50000"/>
                    </a:schemeClr>
                  </a:solidFill>
                  <a:uLnTx/>
                  <a:uFillTx/>
                  <a:latin typeface="Barlow" panose="00000500000000000000" pitchFamily="2" charset="0"/>
                  <a:cs typeface="HelveticaNowDisplay ExtraBold" panose="020B0904030202020204" pitchFamily="34" charset="0"/>
                </a:rPr>
                <a:t>Kindergeneeskunde </a:t>
              </a:r>
              <a:r>
                <a:rPr lang="nl-NL">
                  <a:solidFill>
                    <a:schemeClr val="tx1">
                      <a:lumMod val="50000"/>
                      <a:lumOff val="50000"/>
                    </a:schemeClr>
                  </a:solidFill>
                  <a:latin typeface="Barlow" panose="00000500000000000000" pitchFamily="2" charset="0"/>
                  <a:cs typeface="HelveticaNowDisplay ExtraBold" panose="020B0904030202020204" pitchFamily="34" charset="0"/>
                </a:rPr>
                <a:t>2.0</a:t>
              </a:r>
              <a:endParaRPr kumimoji="0" lang="nl-NL" sz="1800" i="0" u="none" strike="noStrike" cap="none" spc="0" normalizeH="0" baseline="0">
                <a:ln>
                  <a:noFill/>
                </a:ln>
                <a:solidFill>
                  <a:schemeClr val="tx1">
                    <a:lumMod val="50000"/>
                    <a:lumOff val="50000"/>
                  </a:schemeClr>
                </a:solidFill>
                <a:uLnTx/>
                <a:uFillTx/>
                <a:latin typeface="Barlow" panose="00000500000000000000" pitchFamily="2" charset="0"/>
                <a:cs typeface="HelveticaNowDisplay ExtraBold" panose="020B0904030202020204" pitchFamily="34" charset="0"/>
              </a:endParaRPr>
            </a:p>
            <a:p>
              <a:pPr marL="285750" marR="0" lvl="0" indent="-285750" algn="l" defTabSz="801563" fontAlgn="auto">
                <a:lnSpc>
                  <a:spcPct val="90000"/>
                </a:lnSpc>
                <a:spcBef>
                  <a:spcPct val="0"/>
                </a:spcBef>
                <a:spcAft>
                  <a:spcPct val="0"/>
                </a:spcAft>
                <a:buSzTx/>
                <a:buFont typeface="Arial" panose="020B0604020202020204" pitchFamily="34" charset="0"/>
                <a:buChar char="•"/>
                <a:defRPr kumimoji="0" sz="1800" b="0" i="0" u="none" strike="noStrike" cap="none" spc="0" normalizeH="0" baseline="0" noProof="0">
                  <a:ln>
                    <a:noFill/>
                  </a:ln>
                  <a:solidFill>
                    <a:srgbClr val="27254C"/>
                  </a:solidFill>
                  <a:uLnTx/>
                  <a:uFillTx/>
                  <a:latin typeface="HelveticaNowDisplay Bold" panose="020B0804030202020204" pitchFamily="34" charset="0"/>
                  <a:ea typeface="+mj-ea"/>
                  <a:cs typeface="HelveticaNowDisplay Bold" panose="020B0804030202020204" pitchFamily="34" charset="0"/>
                </a:defRPr>
              </a:pPr>
              <a:r>
                <a:rPr lang="nl-NL">
                  <a:solidFill>
                    <a:schemeClr val="tx1">
                      <a:lumMod val="50000"/>
                      <a:lumOff val="50000"/>
                    </a:schemeClr>
                  </a:solidFill>
                  <a:latin typeface="Barlow" panose="00000500000000000000" pitchFamily="2" charset="0"/>
                  <a:cs typeface="HelveticaNowDisplay ExtraBold" panose="020B0904030202020204" pitchFamily="34" charset="0"/>
                </a:rPr>
                <a:t>Neonatologie 2.0</a:t>
              </a:r>
              <a:endParaRPr kumimoji="0" lang="nl-NL" sz="1800" i="0" u="none" strike="noStrike" cap="none" spc="0" normalizeH="0" baseline="0">
                <a:ln>
                  <a:noFill/>
                </a:ln>
                <a:solidFill>
                  <a:schemeClr val="tx1">
                    <a:lumMod val="50000"/>
                    <a:lumOff val="50000"/>
                  </a:schemeClr>
                </a:solidFill>
                <a:uLnTx/>
                <a:uFillTx/>
                <a:latin typeface="Barlow" panose="00000500000000000000" pitchFamily="2" charset="0"/>
                <a:cs typeface="HelveticaNowDisplay ExtraBold" panose="020B0904030202020204" pitchFamily="34" charset="0"/>
              </a:endParaRPr>
            </a:p>
          </p:txBody>
        </p:sp>
      </p:grpSp>
      <p:grpSp>
        <p:nvGrpSpPr>
          <p:cNvPr id="15" name="Groep 14">
            <a:extLst>
              <a:ext uri="{FF2B5EF4-FFF2-40B4-BE49-F238E27FC236}">
                <a16:creationId xmlns:a16="http://schemas.microsoft.com/office/drawing/2014/main" id="{CE24FA05-C078-BCAD-C9E9-323F7AEF84CA}"/>
              </a:ext>
            </a:extLst>
          </p:cNvPr>
          <p:cNvGrpSpPr/>
          <p:nvPr/>
        </p:nvGrpSpPr>
        <p:grpSpPr>
          <a:xfrm>
            <a:off x="1239222" y="4235346"/>
            <a:ext cx="3452302" cy="612002"/>
            <a:chOff x="1371600" y="4731604"/>
            <a:chExt cx="3452302" cy="612002"/>
          </a:xfrm>
        </p:grpSpPr>
        <p:pic>
          <p:nvPicPr>
            <p:cNvPr id="16" name="Graphic 15" descr="Baby met effen opvulling">
              <a:extLst>
                <a:ext uri="{FF2B5EF4-FFF2-40B4-BE49-F238E27FC236}">
                  <a16:creationId xmlns:a16="http://schemas.microsoft.com/office/drawing/2014/main" id="{B099A988-7DD3-012C-7938-AF99AB8B86BB}"/>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1371600" y="4731604"/>
              <a:ext cx="612002" cy="612002"/>
            </a:xfrm>
            <a:prstGeom prst="rect">
              <a:avLst/>
            </a:prstGeom>
          </p:spPr>
        </p:pic>
        <p:sp>
          <p:nvSpPr>
            <p:cNvPr id="17" name="Title 4">
              <a:extLst>
                <a:ext uri="{FF2B5EF4-FFF2-40B4-BE49-F238E27FC236}">
                  <a16:creationId xmlns:a16="http://schemas.microsoft.com/office/drawing/2014/main" id="{3B57E4A1-43D8-90F2-4B1F-34D826D86F76}"/>
                </a:ext>
              </a:extLst>
            </p:cNvPr>
            <p:cNvSpPr txBox="1"/>
            <p:nvPr/>
          </p:nvSpPr>
          <p:spPr>
            <a:xfrm>
              <a:off x="2198584" y="4850280"/>
              <a:ext cx="2625318" cy="374650"/>
            </a:xfrm>
            <a:prstGeom prst="rect">
              <a:avLst/>
            </a:prstGeom>
            <a:ln>
              <a:noFill/>
            </a:ln>
          </p:spPr>
          <p:txBody>
            <a:bodyPr vert="horz" lIns="0" tIns="0" rIns="0" bIns="0" rtlCol="0" anchor="ctr">
              <a:noAutofit/>
            </a:bodyPr>
            <a:lstStyle>
              <a:defPPr>
                <a:defRPr lang="en-US"/>
              </a:defPPr>
              <a:lvl1pPr marL="0" marR="0" lvl="0" indent="0" algn="l" defTabSz="801563" rtl="0" eaLnBrk="1" fontAlgn="auto" latinLnBrk="0" hangingPunct="1">
                <a:lnSpc>
                  <a:spcPct val="90000"/>
                </a:lnSpc>
                <a:spcBef>
                  <a:spcPct val="0"/>
                </a:spcBef>
                <a:spcAft>
                  <a:spcPct val="0"/>
                </a:spcAft>
                <a:buClrTx/>
                <a:buSzTx/>
                <a:buFontTx/>
                <a:buNone/>
                <a:defRPr kumimoji="0" sz="1800" b="0" i="0" u="none" strike="noStrike" kern="1200" cap="none" spc="0" normalizeH="0" baseline="0">
                  <a:ln>
                    <a:noFill/>
                  </a:ln>
                  <a:solidFill>
                    <a:srgbClr val="27254C"/>
                  </a:solidFill>
                  <a:effectLst/>
                  <a:uLnTx/>
                  <a:uFillTx/>
                  <a:latin typeface="HelveticaNowDisplay Bold" panose="020B0804030202020204" pitchFamily="34" charset="0"/>
                  <a:ea typeface="+mj-ea"/>
                  <a:cs typeface="HelveticaNowDisplay Bold" panose="020B0804030202020204" pitchFamily="34" charset="0"/>
                </a:defRPr>
              </a:lvl1pPr>
            </a:lstStyle>
            <a:p>
              <a:pPr marL="0" marR="0" lvl="0" indent="0" algn="l" defTabSz="801563" fontAlgn="auto">
                <a:lnSpc>
                  <a:spcPct val="90000"/>
                </a:lnSpc>
                <a:spcBef>
                  <a:spcPct val="0"/>
                </a:spcBef>
                <a:spcAft>
                  <a:spcPct val="0"/>
                </a:spcAft>
                <a:buSzTx/>
                <a:buNone/>
                <a:defRPr kumimoji="0" sz="1800" b="0" i="0" u="none" strike="noStrike" cap="none" spc="0" normalizeH="0" baseline="0" noProof="0">
                  <a:ln>
                    <a:noFill/>
                  </a:ln>
                  <a:solidFill>
                    <a:srgbClr val="27254C"/>
                  </a:solidFill>
                  <a:uLnTx/>
                  <a:uFillTx/>
                  <a:latin typeface="HelveticaNowDisplay Bold" panose="020B0804030202020204" pitchFamily="34" charset="0"/>
                  <a:ea typeface="+mj-ea"/>
                  <a:cs typeface="HelveticaNowDisplay Bold" panose="020B0804030202020204" pitchFamily="34" charset="0"/>
                </a:defRPr>
              </a:pPr>
              <a:r>
                <a:rPr kumimoji="0" lang="nl-NL" sz="1800" i="0" u="none" strike="noStrike" cap="none" spc="0" normalizeH="0" baseline="0">
                  <a:ln>
                    <a:noFill/>
                  </a:ln>
                  <a:solidFill>
                    <a:schemeClr val="tx1">
                      <a:lumMod val="50000"/>
                      <a:lumOff val="50000"/>
                    </a:schemeClr>
                  </a:solidFill>
                  <a:uLnTx/>
                  <a:uFillTx/>
                  <a:latin typeface="Barlow" panose="00000500000000000000" pitchFamily="2" charset="0"/>
                  <a:cs typeface="HelveticaNowDisplay ExtraBold" panose="020B0904030202020204" pitchFamily="34" charset="0"/>
                </a:rPr>
                <a:t>Geboortezorg module</a:t>
              </a:r>
            </a:p>
          </p:txBody>
        </p:sp>
      </p:grpSp>
      <p:sp>
        <p:nvSpPr>
          <p:cNvPr id="18" name="Title 4">
            <a:extLst>
              <a:ext uri="{FF2B5EF4-FFF2-40B4-BE49-F238E27FC236}">
                <a16:creationId xmlns:a16="http://schemas.microsoft.com/office/drawing/2014/main" id="{73A887AD-43C5-146F-84E1-32E966FE842D}"/>
              </a:ext>
            </a:extLst>
          </p:cNvPr>
          <p:cNvSpPr txBox="1"/>
          <p:nvPr/>
        </p:nvSpPr>
        <p:spPr>
          <a:xfrm>
            <a:off x="1264029" y="1364463"/>
            <a:ext cx="2625318" cy="374650"/>
          </a:xfrm>
          <a:prstGeom prst="rect">
            <a:avLst/>
          </a:prstGeom>
        </p:spPr>
        <p:txBody>
          <a:bodyPr vert="horz" lIns="0" tIns="0" rIns="0" bIns="0" rtlCol="0" anchor="ctr">
            <a:noAutofit/>
          </a:bodyPr>
          <a:lstStyle>
            <a:defPPr>
              <a:defRPr lang="en-US"/>
            </a:defPPr>
            <a:lvl1pPr marL="0" marR="0" lvl="0" indent="0" algn="l" defTabSz="801563" rtl="0" eaLnBrk="1" fontAlgn="auto" latinLnBrk="0" hangingPunct="1">
              <a:lnSpc>
                <a:spcPct val="90000"/>
              </a:lnSpc>
              <a:spcBef>
                <a:spcPct val="0"/>
              </a:spcBef>
              <a:spcAft>
                <a:spcPct val="0"/>
              </a:spcAft>
              <a:buClrTx/>
              <a:buSzTx/>
              <a:buFontTx/>
              <a:buNone/>
              <a:defRPr kumimoji="0" sz="1800" b="0" i="0" u="none" strike="noStrike" kern="1200" cap="none" spc="0" normalizeH="0" baseline="0">
                <a:ln>
                  <a:noFill/>
                </a:ln>
                <a:solidFill>
                  <a:srgbClr val="27254C"/>
                </a:solidFill>
                <a:effectLst/>
                <a:uLnTx/>
                <a:uFillTx/>
                <a:latin typeface="HelveticaNowDisplay Bold" panose="020B0804030202020204" pitchFamily="34" charset="0"/>
                <a:ea typeface="+mj-ea"/>
                <a:cs typeface="HelveticaNowDisplay Bold" panose="020B0804030202020204" pitchFamily="34" charset="0"/>
              </a:defRPr>
            </a:lvl1pPr>
          </a:lstStyle>
          <a:p>
            <a:pPr marL="0" marR="0" lvl="0" indent="0" algn="l" defTabSz="801563" fontAlgn="auto">
              <a:lnSpc>
                <a:spcPct val="90000"/>
              </a:lnSpc>
              <a:spcBef>
                <a:spcPct val="0"/>
              </a:spcBef>
              <a:spcAft>
                <a:spcPct val="0"/>
              </a:spcAft>
              <a:buSzTx/>
              <a:buNone/>
              <a:defRPr kumimoji="0" sz="1800" b="0" i="0" u="none" strike="noStrike" cap="none" spc="0" normalizeH="0" baseline="0" noProof="0">
                <a:ln>
                  <a:noFill/>
                </a:ln>
                <a:solidFill>
                  <a:srgbClr val="27254C"/>
                </a:solidFill>
                <a:uLnTx/>
                <a:uFillTx/>
                <a:latin typeface="HelveticaNowDisplay Bold" panose="020B0804030202020204" pitchFamily="34" charset="0"/>
                <a:ea typeface="+mj-ea"/>
                <a:cs typeface="HelveticaNowDisplay Bold" panose="020B0804030202020204" pitchFamily="34" charset="0"/>
              </a:defRPr>
            </a:pPr>
            <a:r>
              <a:rPr lang="nl-NL" b="1">
                <a:solidFill>
                  <a:schemeClr val="tx2"/>
                </a:solidFill>
                <a:latin typeface="Barlow" panose="00000500000000000000" pitchFamily="2" charset="0"/>
                <a:cs typeface="HelveticaNowDisplay ExtraBold" panose="020B0904030202020204" pitchFamily="34" charset="0"/>
              </a:rPr>
              <a:t>Bestaande</a:t>
            </a:r>
            <a:r>
              <a:rPr kumimoji="0" lang="nl-NL" sz="1800" b="1" i="0" u="none" strike="noStrike" cap="none" spc="0" normalizeH="0" baseline="0">
                <a:ln>
                  <a:noFill/>
                </a:ln>
                <a:solidFill>
                  <a:schemeClr val="tx2"/>
                </a:solidFill>
                <a:uLnTx/>
                <a:uFillTx/>
                <a:latin typeface="Barlow" panose="00000500000000000000" pitchFamily="2" charset="0"/>
                <a:cs typeface="HelveticaNowDisplay ExtraBold" panose="020B0904030202020204" pitchFamily="34" charset="0"/>
              </a:rPr>
              <a:t> modules</a:t>
            </a:r>
          </a:p>
        </p:txBody>
      </p:sp>
      <p:sp>
        <p:nvSpPr>
          <p:cNvPr id="19" name="Title 4">
            <a:extLst>
              <a:ext uri="{FF2B5EF4-FFF2-40B4-BE49-F238E27FC236}">
                <a16:creationId xmlns:a16="http://schemas.microsoft.com/office/drawing/2014/main" id="{850E34CD-49E2-FE40-9DEC-3E99B95DB4CC}"/>
              </a:ext>
            </a:extLst>
          </p:cNvPr>
          <p:cNvSpPr txBox="1"/>
          <p:nvPr/>
        </p:nvSpPr>
        <p:spPr>
          <a:xfrm>
            <a:off x="7260527" y="1389362"/>
            <a:ext cx="2625318" cy="374650"/>
          </a:xfrm>
          <a:prstGeom prst="rect">
            <a:avLst/>
          </a:prstGeom>
        </p:spPr>
        <p:txBody>
          <a:bodyPr vert="horz" lIns="0" tIns="0" rIns="0" bIns="0" rtlCol="0" anchor="ctr">
            <a:noAutofit/>
          </a:bodyPr>
          <a:lstStyle>
            <a:defPPr>
              <a:defRPr lang="en-US"/>
            </a:defPPr>
            <a:lvl1pPr marL="0" marR="0" lvl="0" indent="0" algn="l" defTabSz="801563" rtl="0" eaLnBrk="1" fontAlgn="auto" latinLnBrk="0" hangingPunct="1">
              <a:lnSpc>
                <a:spcPct val="90000"/>
              </a:lnSpc>
              <a:spcBef>
                <a:spcPct val="0"/>
              </a:spcBef>
              <a:spcAft>
                <a:spcPct val="0"/>
              </a:spcAft>
              <a:buClrTx/>
              <a:buSzTx/>
              <a:buFontTx/>
              <a:buNone/>
              <a:defRPr kumimoji="0" sz="1800" b="0" i="0" u="none" strike="noStrike" kern="1200" cap="none" spc="0" normalizeH="0" baseline="0">
                <a:ln>
                  <a:noFill/>
                </a:ln>
                <a:solidFill>
                  <a:srgbClr val="27254C"/>
                </a:solidFill>
                <a:effectLst/>
                <a:uLnTx/>
                <a:uFillTx/>
                <a:latin typeface="HelveticaNowDisplay Bold" panose="020B0804030202020204" pitchFamily="34" charset="0"/>
                <a:ea typeface="+mj-ea"/>
                <a:cs typeface="HelveticaNowDisplay Bold" panose="020B0804030202020204" pitchFamily="34" charset="0"/>
              </a:defRPr>
            </a:lvl1pPr>
          </a:lstStyle>
          <a:p>
            <a:pPr marL="0" marR="0" lvl="0" indent="0" algn="l" defTabSz="801563" fontAlgn="auto">
              <a:lnSpc>
                <a:spcPct val="90000"/>
              </a:lnSpc>
              <a:spcBef>
                <a:spcPct val="0"/>
              </a:spcBef>
              <a:spcAft>
                <a:spcPct val="0"/>
              </a:spcAft>
              <a:buSzTx/>
              <a:buNone/>
              <a:defRPr kumimoji="0" sz="1800" b="0" i="0" u="none" strike="noStrike" cap="none" spc="0" normalizeH="0" baseline="0" noProof="0">
                <a:ln>
                  <a:noFill/>
                </a:ln>
                <a:solidFill>
                  <a:srgbClr val="27254C"/>
                </a:solidFill>
                <a:uLnTx/>
                <a:uFillTx/>
                <a:latin typeface="HelveticaNowDisplay Bold" panose="020B0804030202020204" pitchFamily="34" charset="0"/>
                <a:ea typeface="+mj-ea"/>
                <a:cs typeface="HelveticaNowDisplay Bold" panose="020B0804030202020204" pitchFamily="34" charset="0"/>
              </a:defRPr>
            </a:pPr>
            <a:r>
              <a:rPr lang="nl-NL" b="1">
                <a:solidFill>
                  <a:schemeClr val="tx2"/>
                </a:solidFill>
                <a:latin typeface="Barlow" panose="00000500000000000000" pitchFamily="2" charset="0"/>
                <a:cs typeface="HelveticaNowDisplay ExtraBold" panose="020B0904030202020204" pitchFamily="34" charset="0"/>
              </a:rPr>
              <a:t>M</a:t>
            </a:r>
            <a:r>
              <a:rPr kumimoji="0" lang="nl-NL" sz="1800" b="1" i="0" u="none" strike="noStrike" cap="none" spc="0" normalizeH="0" baseline="0">
                <a:ln>
                  <a:noFill/>
                </a:ln>
                <a:solidFill>
                  <a:schemeClr val="tx2"/>
                </a:solidFill>
                <a:uLnTx/>
                <a:uFillTx/>
                <a:latin typeface="Barlow" panose="00000500000000000000" pitchFamily="2" charset="0"/>
                <a:cs typeface="HelveticaNowDisplay ExtraBold" panose="020B0904030202020204" pitchFamily="34" charset="0"/>
              </a:rPr>
              <a:t>odules in ontwikkeling</a:t>
            </a:r>
          </a:p>
        </p:txBody>
      </p:sp>
      <p:grpSp>
        <p:nvGrpSpPr>
          <p:cNvPr id="20" name="Groep 19">
            <a:extLst>
              <a:ext uri="{FF2B5EF4-FFF2-40B4-BE49-F238E27FC236}">
                <a16:creationId xmlns:a16="http://schemas.microsoft.com/office/drawing/2014/main" id="{3B54CA4F-0BE2-F55F-8F2B-983917DCA4B5}"/>
              </a:ext>
            </a:extLst>
          </p:cNvPr>
          <p:cNvGrpSpPr/>
          <p:nvPr/>
        </p:nvGrpSpPr>
        <p:grpSpPr>
          <a:xfrm>
            <a:off x="7180139" y="1992911"/>
            <a:ext cx="3481194" cy="548477"/>
            <a:chOff x="7287710" y="1992911"/>
            <a:chExt cx="3481194" cy="548477"/>
          </a:xfrm>
        </p:grpSpPr>
        <p:sp>
          <p:nvSpPr>
            <p:cNvPr id="21" name="Title 4">
              <a:extLst>
                <a:ext uri="{FF2B5EF4-FFF2-40B4-BE49-F238E27FC236}">
                  <a16:creationId xmlns:a16="http://schemas.microsoft.com/office/drawing/2014/main" id="{2896D2F6-D127-FD7D-7AF5-7C8D0BC6A879}"/>
                </a:ext>
              </a:extLst>
            </p:cNvPr>
            <p:cNvSpPr txBox="1"/>
            <p:nvPr/>
          </p:nvSpPr>
          <p:spPr>
            <a:xfrm>
              <a:off x="8143586" y="2090086"/>
              <a:ext cx="2625318" cy="374650"/>
            </a:xfrm>
            <a:prstGeom prst="rect">
              <a:avLst/>
            </a:prstGeom>
            <a:ln>
              <a:noFill/>
            </a:ln>
          </p:spPr>
          <p:txBody>
            <a:bodyPr vert="horz" lIns="0" tIns="0" rIns="0" bIns="0" rtlCol="0" anchor="ctr">
              <a:noAutofit/>
            </a:bodyPr>
            <a:lstStyle>
              <a:defPPr>
                <a:defRPr lang="en-US"/>
              </a:defPPr>
              <a:lvl1pPr marL="0" marR="0" lvl="0" indent="0" algn="l" defTabSz="801563" rtl="0" eaLnBrk="1" fontAlgn="auto" latinLnBrk="0" hangingPunct="1">
                <a:lnSpc>
                  <a:spcPct val="90000"/>
                </a:lnSpc>
                <a:spcBef>
                  <a:spcPct val="0"/>
                </a:spcBef>
                <a:spcAft>
                  <a:spcPct val="0"/>
                </a:spcAft>
                <a:buClrTx/>
                <a:buSzTx/>
                <a:buFontTx/>
                <a:buNone/>
                <a:defRPr kumimoji="0" sz="1800" b="0" i="0" u="none" strike="noStrike" kern="1200" cap="none" spc="0" normalizeH="0" baseline="0">
                  <a:ln>
                    <a:noFill/>
                  </a:ln>
                  <a:solidFill>
                    <a:srgbClr val="27254C"/>
                  </a:solidFill>
                  <a:effectLst/>
                  <a:uLnTx/>
                  <a:uFillTx/>
                  <a:latin typeface="HelveticaNowDisplay Bold" panose="020B0804030202020204" pitchFamily="34" charset="0"/>
                  <a:ea typeface="+mj-ea"/>
                  <a:cs typeface="HelveticaNowDisplay Bold" panose="020B0804030202020204" pitchFamily="34" charset="0"/>
                </a:defRPr>
              </a:lvl1pPr>
            </a:lstStyle>
            <a:p>
              <a:pPr>
                <a:defRPr kumimoji="0" sz="1800" b="0" i="0" u="none" strike="noStrike" cap="none" spc="0" normalizeH="0" baseline="0" noProof="0">
                  <a:ln>
                    <a:noFill/>
                  </a:ln>
                  <a:solidFill>
                    <a:srgbClr val="27254C"/>
                  </a:solidFill>
                  <a:uLnTx/>
                  <a:uFillTx/>
                  <a:latin typeface="HelveticaNowDisplay Bold" panose="020B0804030202020204" pitchFamily="34" charset="0"/>
                  <a:ea typeface="+mj-ea"/>
                  <a:cs typeface="HelveticaNowDisplay Bold" panose="020B0804030202020204" pitchFamily="34" charset="0"/>
                </a:defRPr>
              </a:pPr>
              <a:r>
                <a:rPr lang="nl-NL">
                  <a:solidFill>
                    <a:schemeClr val="tx1">
                      <a:lumMod val="50000"/>
                      <a:lumOff val="50000"/>
                    </a:schemeClr>
                  </a:solidFill>
                  <a:latin typeface="Barlow" panose="00000500000000000000" pitchFamily="2" charset="0"/>
                </a:rPr>
                <a:t>V&amp;V module</a:t>
              </a:r>
            </a:p>
          </p:txBody>
        </p:sp>
        <p:pic>
          <p:nvPicPr>
            <p:cNvPr id="22" name="Graphic 21" descr="Vrouw met wandelstok met effen opvulling">
              <a:extLst>
                <a:ext uri="{FF2B5EF4-FFF2-40B4-BE49-F238E27FC236}">
                  <a16:creationId xmlns:a16="http://schemas.microsoft.com/office/drawing/2014/main" id="{86B1D3EF-0C88-7B7A-7C5A-C4965FEA62A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287710" y="1992911"/>
              <a:ext cx="548477" cy="548477"/>
            </a:xfrm>
            <a:prstGeom prst="rect">
              <a:avLst/>
            </a:prstGeom>
          </p:spPr>
        </p:pic>
      </p:grpSp>
      <p:grpSp>
        <p:nvGrpSpPr>
          <p:cNvPr id="23" name="Groep 22">
            <a:extLst>
              <a:ext uri="{FF2B5EF4-FFF2-40B4-BE49-F238E27FC236}">
                <a16:creationId xmlns:a16="http://schemas.microsoft.com/office/drawing/2014/main" id="{11E01C91-09A6-A6F3-A29E-80E393E3DB7D}"/>
              </a:ext>
            </a:extLst>
          </p:cNvPr>
          <p:cNvGrpSpPr/>
          <p:nvPr/>
        </p:nvGrpSpPr>
        <p:grpSpPr>
          <a:xfrm>
            <a:off x="7167270" y="3644690"/>
            <a:ext cx="3481194" cy="586265"/>
            <a:chOff x="7287710" y="3747102"/>
            <a:chExt cx="3481194" cy="586265"/>
          </a:xfrm>
        </p:grpSpPr>
        <p:sp>
          <p:nvSpPr>
            <p:cNvPr id="24" name="Title 4">
              <a:extLst>
                <a:ext uri="{FF2B5EF4-FFF2-40B4-BE49-F238E27FC236}">
                  <a16:creationId xmlns:a16="http://schemas.microsoft.com/office/drawing/2014/main" id="{6F16A7B9-E075-0B8A-1527-90EE064562C4}"/>
                </a:ext>
              </a:extLst>
            </p:cNvPr>
            <p:cNvSpPr txBox="1"/>
            <p:nvPr/>
          </p:nvSpPr>
          <p:spPr>
            <a:xfrm>
              <a:off x="8143586" y="3877202"/>
              <a:ext cx="2625318" cy="374650"/>
            </a:xfrm>
            <a:prstGeom prst="rect">
              <a:avLst/>
            </a:prstGeom>
            <a:ln>
              <a:noFill/>
            </a:ln>
          </p:spPr>
          <p:txBody>
            <a:bodyPr vert="horz" lIns="0" tIns="0" rIns="0" bIns="0" rtlCol="0" anchor="ctr">
              <a:noAutofit/>
            </a:bodyPr>
            <a:lstStyle>
              <a:defPPr>
                <a:defRPr lang="en-US"/>
              </a:defPPr>
              <a:lvl1pPr marL="0" marR="0" lvl="0" indent="0" algn="l" defTabSz="801563" rtl="0" eaLnBrk="1" fontAlgn="auto" latinLnBrk="0" hangingPunct="1">
                <a:lnSpc>
                  <a:spcPct val="90000"/>
                </a:lnSpc>
                <a:spcBef>
                  <a:spcPct val="0"/>
                </a:spcBef>
                <a:spcAft>
                  <a:spcPct val="0"/>
                </a:spcAft>
                <a:buClrTx/>
                <a:buSzTx/>
                <a:buFontTx/>
                <a:buNone/>
                <a:defRPr kumimoji="0" sz="1800" b="0" i="0" u="none" strike="noStrike" kern="1200" cap="none" spc="0" normalizeH="0" baseline="0">
                  <a:ln>
                    <a:noFill/>
                  </a:ln>
                  <a:solidFill>
                    <a:srgbClr val="27254C"/>
                  </a:solidFill>
                  <a:effectLst/>
                  <a:uLnTx/>
                  <a:uFillTx/>
                  <a:latin typeface="HelveticaNowDisplay Bold" panose="020B0804030202020204" pitchFamily="34" charset="0"/>
                  <a:ea typeface="+mj-ea"/>
                  <a:cs typeface="HelveticaNowDisplay Bold" panose="020B0804030202020204" pitchFamily="34" charset="0"/>
                </a:defRPr>
              </a:lvl1pPr>
            </a:lstStyle>
            <a:p>
              <a:pPr>
                <a:defRPr kumimoji="0" sz="1800" b="0" i="0" u="none" strike="noStrike" cap="none" spc="0" normalizeH="0" baseline="0" noProof="0">
                  <a:ln>
                    <a:noFill/>
                  </a:ln>
                  <a:solidFill>
                    <a:srgbClr val="27254C"/>
                  </a:solidFill>
                  <a:uLnTx/>
                  <a:uFillTx/>
                  <a:latin typeface="HelveticaNowDisplay Bold" panose="020B0804030202020204" pitchFamily="34" charset="0"/>
                  <a:ea typeface="+mj-ea"/>
                  <a:cs typeface="HelveticaNowDisplay Bold" panose="020B0804030202020204" pitchFamily="34" charset="0"/>
                </a:defRPr>
              </a:pPr>
              <a:r>
                <a:rPr lang="nl-NL">
                  <a:solidFill>
                    <a:schemeClr val="tx1">
                      <a:lumMod val="50000"/>
                      <a:lumOff val="50000"/>
                    </a:schemeClr>
                  </a:solidFill>
                  <a:latin typeface="Barlow" panose="00000500000000000000" pitchFamily="2" charset="0"/>
                </a:rPr>
                <a:t>Ambulance (RAV) module</a:t>
              </a:r>
            </a:p>
          </p:txBody>
        </p:sp>
        <p:pic>
          <p:nvPicPr>
            <p:cNvPr id="25" name="Graphic 24" descr="Ambulance silhouet">
              <a:extLst>
                <a:ext uri="{FF2B5EF4-FFF2-40B4-BE49-F238E27FC236}">
                  <a16:creationId xmlns:a16="http://schemas.microsoft.com/office/drawing/2014/main" id="{BDEA483F-9A28-8388-99C2-09FC82C5FCC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287710" y="3747102"/>
              <a:ext cx="586265" cy="586265"/>
            </a:xfrm>
            <a:prstGeom prst="rect">
              <a:avLst/>
            </a:prstGeom>
          </p:spPr>
        </p:pic>
      </p:grpSp>
      <p:grpSp>
        <p:nvGrpSpPr>
          <p:cNvPr id="26" name="Groep 25">
            <a:extLst>
              <a:ext uri="{FF2B5EF4-FFF2-40B4-BE49-F238E27FC236}">
                <a16:creationId xmlns:a16="http://schemas.microsoft.com/office/drawing/2014/main" id="{9AE1817E-375E-1E56-94B4-9475E3F080CA}"/>
              </a:ext>
            </a:extLst>
          </p:cNvPr>
          <p:cNvGrpSpPr/>
          <p:nvPr/>
        </p:nvGrpSpPr>
        <p:grpSpPr>
          <a:xfrm>
            <a:off x="7167270" y="2780353"/>
            <a:ext cx="3494063" cy="599129"/>
            <a:chOff x="7274841" y="2780353"/>
            <a:chExt cx="3494063" cy="599129"/>
          </a:xfrm>
        </p:grpSpPr>
        <p:sp>
          <p:nvSpPr>
            <p:cNvPr id="27" name="Title 4">
              <a:extLst>
                <a:ext uri="{FF2B5EF4-FFF2-40B4-BE49-F238E27FC236}">
                  <a16:creationId xmlns:a16="http://schemas.microsoft.com/office/drawing/2014/main" id="{C7C2C261-DC7C-11C6-E50D-1886D2457CFD}"/>
                </a:ext>
              </a:extLst>
            </p:cNvPr>
            <p:cNvSpPr txBox="1"/>
            <p:nvPr/>
          </p:nvSpPr>
          <p:spPr>
            <a:xfrm>
              <a:off x="8143586" y="2911835"/>
              <a:ext cx="2625318" cy="374650"/>
            </a:xfrm>
            <a:prstGeom prst="rect">
              <a:avLst/>
            </a:prstGeom>
            <a:ln>
              <a:noFill/>
            </a:ln>
          </p:spPr>
          <p:txBody>
            <a:bodyPr vert="horz" lIns="0" tIns="0" rIns="0" bIns="0" rtlCol="0" anchor="ctr">
              <a:noAutofit/>
            </a:bodyPr>
            <a:lstStyle>
              <a:defPPr>
                <a:defRPr lang="en-US"/>
              </a:defPPr>
              <a:lvl1pPr marL="0" marR="0" lvl="0" indent="0" algn="l" defTabSz="801563" rtl="0" eaLnBrk="1" fontAlgn="auto" latinLnBrk="0" hangingPunct="1">
                <a:lnSpc>
                  <a:spcPct val="90000"/>
                </a:lnSpc>
                <a:spcBef>
                  <a:spcPct val="0"/>
                </a:spcBef>
                <a:spcAft>
                  <a:spcPct val="0"/>
                </a:spcAft>
                <a:buClrTx/>
                <a:buSzTx/>
                <a:buFontTx/>
                <a:buNone/>
                <a:defRPr kumimoji="0" sz="1800" b="0" i="0" u="none" strike="noStrike" kern="1200" cap="none" spc="0" normalizeH="0" baseline="0">
                  <a:ln>
                    <a:noFill/>
                  </a:ln>
                  <a:solidFill>
                    <a:srgbClr val="27254C"/>
                  </a:solidFill>
                  <a:effectLst/>
                  <a:uLnTx/>
                  <a:uFillTx/>
                  <a:latin typeface="HelveticaNowDisplay Bold" panose="020B0804030202020204" pitchFamily="34" charset="0"/>
                  <a:ea typeface="+mj-ea"/>
                  <a:cs typeface="HelveticaNowDisplay Bold" panose="020B0804030202020204" pitchFamily="34" charset="0"/>
                </a:defRPr>
              </a:lvl1pPr>
            </a:lstStyle>
            <a:p>
              <a:pPr>
                <a:defRPr kumimoji="0" sz="1800" b="0" i="0" u="none" strike="noStrike" cap="none" spc="0" normalizeH="0" baseline="0" noProof="0">
                  <a:ln>
                    <a:noFill/>
                  </a:ln>
                  <a:solidFill>
                    <a:srgbClr val="27254C"/>
                  </a:solidFill>
                  <a:uLnTx/>
                  <a:uFillTx/>
                  <a:latin typeface="HelveticaNowDisplay Bold" panose="020B0804030202020204" pitchFamily="34" charset="0"/>
                  <a:ea typeface="+mj-ea"/>
                  <a:cs typeface="HelveticaNowDisplay Bold" panose="020B0804030202020204" pitchFamily="34" charset="0"/>
                </a:defRPr>
              </a:pPr>
              <a:r>
                <a:rPr lang="nl-NL">
                  <a:solidFill>
                    <a:schemeClr val="tx1">
                      <a:lumMod val="50000"/>
                      <a:lumOff val="50000"/>
                    </a:schemeClr>
                  </a:solidFill>
                  <a:latin typeface="Barlow" panose="00000500000000000000" pitchFamily="2" charset="0"/>
                </a:rPr>
                <a:t>Acute GGZ module</a:t>
              </a:r>
            </a:p>
          </p:txBody>
        </p:sp>
        <p:pic>
          <p:nvPicPr>
            <p:cNvPr id="28" name="Graphic 27" descr="Hersenen in hoofd met effen opvulling">
              <a:extLst>
                <a:ext uri="{FF2B5EF4-FFF2-40B4-BE49-F238E27FC236}">
                  <a16:creationId xmlns:a16="http://schemas.microsoft.com/office/drawing/2014/main" id="{39C13B1F-F9A1-3C41-3DDD-690936567D2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274841" y="2780353"/>
              <a:ext cx="599129" cy="599129"/>
            </a:xfrm>
            <a:prstGeom prst="rect">
              <a:avLst/>
            </a:prstGeom>
          </p:spPr>
        </p:pic>
      </p:grpSp>
      <p:grpSp>
        <p:nvGrpSpPr>
          <p:cNvPr id="29" name="Groep 28">
            <a:extLst>
              <a:ext uri="{FF2B5EF4-FFF2-40B4-BE49-F238E27FC236}">
                <a16:creationId xmlns:a16="http://schemas.microsoft.com/office/drawing/2014/main" id="{AE63D5D2-6502-31DD-8331-0A5CF168A43C}"/>
              </a:ext>
            </a:extLst>
          </p:cNvPr>
          <p:cNvGrpSpPr/>
          <p:nvPr/>
        </p:nvGrpSpPr>
        <p:grpSpPr>
          <a:xfrm>
            <a:off x="7164343" y="4517474"/>
            <a:ext cx="3688104" cy="586266"/>
            <a:chOff x="7262790" y="4690991"/>
            <a:chExt cx="3422201" cy="586266"/>
          </a:xfrm>
        </p:grpSpPr>
        <p:sp>
          <p:nvSpPr>
            <p:cNvPr id="30" name="Title 4">
              <a:extLst>
                <a:ext uri="{FF2B5EF4-FFF2-40B4-BE49-F238E27FC236}">
                  <a16:creationId xmlns:a16="http://schemas.microsoft.com/office/drawing/2014/main" id="{A903BC9C-86C9-AC9C-50BC-467FBDF19B57}"/>
                </a:ext>
              </a:extLst>
            </p:cNvPr>
            <p:cNvSpPr txBox="1"/>
            <p:nvPr/>
          </p:nvSpPr>
          <p:spPr>
            <a:xfrm>
              <a:off x="8059673" y="4754874"/>
              <a:ext cx="2625318" cy="374650"/>
            </a:xfrm>
            <a:prstGeom prst="rect">
              <a:avLst/>
            </a:prstGeom>
            <a:ln>
              <a:noFill/>
            </a:ln>
          </p:spPr>
          <p:txBody>
            <a:bodyPr vert="horz" lIns="0" tIns="0" rIns="0" bIns="0" rtlCol="0" anchor="ctr">
              <a:noAutofit/>
            </a:bodyPr>
            <a:lstStyle>
              <a:defPPr>
                <a:defRPr lang="en-US"/>
              </a:defPPr>
              <a:lvl1pPr marL="0" marR="0" lvl="0" indent="0" algn="l" defTabSz="801563" rtl="0" eaLnBrk="1" fontAlgn="auto" latinLnBrk="0" hangingPunct="1">
                <a:lnSpc>
                  <a:spcPct val="90000"/>
                </a:lnSpc>
                <a:spcBef>
                  <a:spcPct val="0"/>
                </a:spcBef>
                <a:spcAft>
                  <a:spcPct val="0"/>
                </a:spcAft>
                <a:buClrTx/>
                <a:buSzTx/>
                <a:buFontTx/>
                <a:buNone/>
                <a:defRPr kumimoji="0" sz="1800" b="0" i="0" u="none" strike="noStrike" kern="1200" cap="none" spc="0" normalizeH="0" baseline="0">
                  <a:ln>
                    <a:noFill/>
                  </a:ln>
                  <a:solidFill>
                    <a:srgbClr val="27254C"/>
                  </a:solidFill>
                  <a:effectLst/>
                  <a:uLnTx/>
                  <a:uFillTx/>
                  <a:latin typeface="HelveticaNowDisplay Bold" panose="020B0804030202020204" pitchFamily="34" charset="0"/>
                  <a:ea typeface="+mj-ea"/>
                  <a:cs typeface="HelveticaNowDisplay Bold" panose="020B0804030202020204" pitchFamily="34" charset="0"/>
                </a:defRPr>
              </a:lvl1pPr>
            </a:lstStyle>
            <a:p>
              <a:pPr>
                <a:defRPr kumimoji="0" sz="1800" b="0" i="0" u="none" strike="noStrike" cap="none" spc="0" normalizeH="0" baseline="0" noProof="0">
                  <a:ln>
                    <a:noFill/>
                  </a:ln>
                  <a:solidFill>
                    <a:srgbClr val="27254C"/>
                  </a:solidFill>
                  <a:uLnTx/>
                  <a:uFillTx/>
                  <a:latin typeface="HelveticaNowDisplay Bold" panose="020B0804030202020204" pitchFamily="34" charset="0"/>
                  <a:ea typeface="+mj-ea"/>
                  <a:cs typeface="HelveticaNowDisplay Bold" panose="020B0804030202020204" pitchFamily="34" charset="0"/>
                </a:defRPr>
              </a:pPr>
              <a:r>
                <a:rPr lang="nl-NL">
                  <a:solidFill>
                    <a:schemeClr val="tx1">
                      <a:lumMod val="50000"/>
                      <a:lumOff val="50000"/>
                    </a:schemeClr>
                  </a:solidFill>
                  <a:latin typeface="Barlow" panose="00000500000000000000" pitchFamily="2" charset="0"/>
                </a:rPr>
                <a:t>Huisartsenspoedpost module</a:t>
              </a:r>
            </a:p>
          </p:txBody>
        </p:sp>
        <p:pic>
          <p:nvPicPr>
            <p:cNvPr id="31" name="Graphic 30" descr="Stethoscoop met effen opvulling">
              <a:extLst>
                <a:ext uri="{FF2B5EF4-FFF2-40B4-BE49-F238E27FC236}">
                  <a16:creationId xmlns:a16="http://schemas.microsoft.com/office/drawing/2014/main" id="{66ABC8C2-6F01-2692-2F34-4E60C973F585}"/>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262790" y="4690991"/>
              <a:ext cx="586266" cy="586266"/>
            </a:xfrm>
            <a:prstGeom prst="rect">
              <a:avLst/>
            </a:prstGeom>
          </p:spPr>
        </p:pic>
      </p:grpSp>
      <p:grpSp>
        <p:nvGrpSpPr>
          <p:cNvPr id="32" name="Groep 31">
            <a:extLst>
              <a:ext uri="{FF2B5EF4-FFF2-40B4-BE49-F238E27FC236}">
                <a16:creationId xmlns:a16="http://schemas.microsoft.com/office/drawing/2014/main" id="{1C47857E-62B1-8041-5C6F-1BC681ABDD86}"/>
              </a:ext>
            </a:extLst>
          </p:cNvPr>
          <p:cNvGrpSpPr/>
          <p:nvPr/>
        </p:nvGrpSpPr>
        <p:grpSpPr>
          <a:xfrm>
            <a:off x="7167270" y="5390260"/>
            <a:ext cx="3468325" cy="611275"/>
            <a:chOff x="7300579" y="5567657"/>
            <a:chExt cx="3468325" cy="611275"/>
          </a:xfrm>
        </p:grpSpPr>
        <p:sp>
          <p:nvSpPr>
            <p:cNvPr id="33" name="Title 4">
              <a:extLst>
                <a:ext uri="{FF2B5EF4-FFF2-40B4-BE49-F238E27FC236}">
                  <a16:creationId xmlns:a16="http://schemas.microsoft.com/office/drawing/2014/main" id="{27A86D0A-114E-269D-CD39-62E7400A3A9E}"/>
                </a:ext>
              </a:extLst>
            </p:cNvPr>
            <p:cNvSpPr txBox="1"/>
            <p:nvPr/>
          </p:nvSpPr>
          <p:spPr>
            <a:xfrm>
              <a:off x="8143586" y="5685970"/>
              <a:ext cx="2625318" cy="374650"/>
            </a:xfrm>
            <a:prstGeom prst="rect">
              <a:avLst/>
            </a:prstGeom>
            <a:ln>
              <a:noFill/>
            </a:ln>
          </p:spPr>
          <p:txBody>
            <a:bodyPr vert="horz" lIns="0" tIns="0" rIns="0" bIns="0" rtlCol="0" anchor="ctr">
              <a:noAutofit/>
            </a:bodyPr>
            <a:lstStyle>
              <a:defPPr>
                <a:defRPr lang="en-US"/>
              </a:defPPr>
              <a:lvl1pPr marL="0" marR="0" lvl="0" indent="0" algn="l" defTabSz="801563" rtl="0" eaLnBrk="1" fontAlgn="auto" latinLnBrk="0" hangingPunct="1">
                <a:lnSpc>
                  <a:spcPct val="90000"/>
                </a:lnSpc>
                <a:spcBef>
                  <a:spcPct val="0"/>
                </a:spcBef>
                <a:spcAft>
                  <a:spcPct val="0"/>
                </a:spcAft>
                <a:buClrTx/>
                <a:buSzTx/>
                <a:buFontTx/>
                <a:buNone/>
                <a:defRPr kumimoji="0" sz="1800" b="0" i="0" u="none" strike="noStrike" kern="1200" cap="none" spc="0" normalizeH="0" baseline="0">
                  <a:ln>
                    <a:noFill/>
                  </a:ln>
                  <a:solidFill>
                    <a:srgbClr val="27254C"/>
                  </a:solidFill>
                  <a:effectLst/>
                  <a:uLnTx/>
                  <a:uFillTx/>
                  <a:latin typeface="HelveticaNowDisplay Bold" panose="020B0804030202020204" pitchFamily="34" charset="0"/>
                  <a:ea typeface="+mj-ea"/>
                  <a:cs typeface="HelveticaNowDisplay Bold" panose="020B0804030202020204" pitchFamily="34" charset="0"/>
                </a:defRPr>
              </a:lvl1pPr>
            </a:lstStyle>
            <a:p>
              <a:pPr>
                <a:defRPr kumimoji="0" sz="1800" b="0" i="0" u="none" strike="noStrike" cap="none" spc="0" normalizeH="0" baseline="0" noProof="0">
                  <a:ln>
                    <a:noFill/>
                  </a:ln>
                  <a:solidFill>
                    <a:srgbClr val="27254C"/>
                  </a:solidFill>
                  <a:uLnTx/>
                  <a:uFillTx/>
                  <a:latin typeface="HelveticaNowDisplay Bold" panose="020B0804030202020204" pitchFamily="34" charset="0"/>
                  <a:ea typeface="+mj-ea"/>
                  <a:cs typeface="HelveticaNowDisplay Bold" panose="020B0804030202020204" pitchFamily="34" charset="0"/>
                </a:defRPr>
              </a:pPr>
              <a:r>
                <a:rPr lang="nl-NL">
                  <a:solidFill>
                    <a:schemeClr val="tx1">
                      <a:lumMod val="50000"/>
                      <a:lumOff val="50000"/>
                    </a:schemeClr>
                  </a:solidFill>
                  <a:latin typeface="Barlow" panose="00000500000000000000" pitchFamily="2" charset="0"/>
                </a:rPr>
                <a:t>Coördinatie module</a:t>
              </a:r>
            </a:p>
          </p:txBody>
        </p:sp>
        <p:pic>
          <p:nvPicPr>
            <p:cNvPr id="34" name="Graphic 33" descr="Gebruikersnetwerk met effen opvulling">
              <a:extLst>
                <a:ext uri="{FF2B5EF4-FFF2-40B4-BE49-F238E27FC236}">
                  <a16:creationId xmlns:a16="http://schemas.microsoft.com/office/drawing/2014/main" id="{11336861-F028-F087-655B-C8476EA26911}"/>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7300579" y="5567657"/>
              <a:ext cx="611275" cy="611275"/>
            </a:xfrm>
            <a:prstGeom prst="rect">
              <a:avLst/>
            </a:prstGeom>
          </p:spPr>
        </p:pic>
      </p:grpSp>
      <p:cxnSp>
        <p:nvCxnSpPr>
          <p:cNvPr id="36" name="Rechte verbindingslijn 35">
            <a:extLst>
              <a:ext uri="{FF2B5EF4-FFF2-40B4-BE49-F238E27FC236}">
                <a16:creationId xmlns:a16="http://schemas.microsoft.com/office/drawing/2014/main" id="{C59B1FBD-3E0D-3E58-20CB-249E61B126F0}"/>
              </a:ext>
            </a:extLst>
          </p:cNvPr>
          <p:cNvCxnSpPr/>
          <p:nvPr/>
        </p:nvCxnSpPr>
        <p:spPr>
          <a:xfrm>
            <a:off x="5540188" y="1364463"/>
            <a:ext cx="0" cy="451876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28107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E875774-C160-F67C-466F-0BC1C05F4832}"/>
              </a:ext>
            </a:extLst>
          </p:cNvPr>
          <p:cNvSpPr>
            <a:spLocks noGrp="1"/>
          </p:cNvSpPr>
          <p:nvPr>
            <p:ph type="title"/>
          </p:nvPr>
        </p:nvSpPr>
        <p:spPr/>
        <p:txBody>
          <a:bodyPr>
            <a:noAutofit/>
          </a:bodyPr>
          <a:lstStyle/>
          <a:p>
            <a:r>
              <a:rPr lang="nl-NL" sz="2500">
                <a:solidFill>
                  <a:srgbClr val="1D5886"/>
                </a:solidFill>
              </a:rPr>
              <a:t>Introductie LPZ | Het ontstaan van Landelijk Platform Zorgcoördinatie (LPZ)</a:t>
            </a:r>
          </a:p>
        </p:txBody>
      </p:sp>
      <p:sp>
        <p:nvSpPr>
          <p:cNvPr id="3" name="Tijdelijke aanduiding voor inhoud 2">
            <a:extLst>
              <a:ext uri="{FF2B5EF4-FFF2-40B4-BE49-F238E27FC236}">
                <a16:creationId xmlns:a16="http://schemas.microsoft.com/office/drawing/2014/main" id="{E7A5011B-0BEE-BE40-F46A-9E331CB9B23E}"/>
              </a:ext>
            </a:extLst>
          </p:cNvPr>
          <p:cNvSpPr>
            <a:spLocks noGrp="1"/>
          </p:cNvSpPr>
          <p:nvPr>
            <p:ph idx="1"/>
          </p:nvPr>
        </p:nvSpPr>
        <p:spPr/>
        <p:txBody>
          <a:bodyPr/>
          <a:lstStyle/>
          <a:p>
            <a:r>
              <a:rPr lang="nl-NL"/>
              <a:t>Maart 2020..</a:t>
            </a:r>
          </a:p>
          <a:p>
            <a:endParaRPr lang="nl-NL"/>
          </a:p>
          <a:p>
            <a:pPr marL="0" indent="0">
              <a:buNone/>
            </a:pPr>
            <a:endParaRPr lang="nl-NL"/>
          </a:p>
        </p:txBody>
      </p:sp>
      <p:sp>
        <p:nvSpPr>
          <p:cNvPr id="4" name="Tijdelijke aanduiding voor dianummer 3">
            <a:extLst>
              <a:ext uri="{FF2B5EF4-FFF2-40B4-BE49-F238E27FC236}">
                <a16:creationId xmlns:a16="http://schemas.microsoft.com/office/drawing/2014/main" id="{394F4B2A-061C-F144-E8D5-D07B75A53DF0}"/>
              </a:ext>
            </a:extLst>
          </p:cNvPr>
          <p:cNvSpPr>
            <a:spLocks noGrp="1"/>
          </p:cNvSpPr>
          <p:nvPr>
            <p:ph type="sldNum" sz="quarter" idx="12"/>
          </p:nvPr>
        </p:nvSpPr>
        <p:spPr/>
        <p:txBody>
          <a:bodyPr/>
          <a:lstStyle/>
          <a:p>
            <a:fld id="{69E57DC2-970A-4B3E-BB1C-7A09969E49DF}" type="slidenum">
              <a:rPr lang="nl-NL" smtClean="0"/>
              <a:t>5</a:t>
            </a:fld>
            <a:endParaRPr lang="nl-NL"/>
          </a:p>
        </p:txBody>
      </p:sp>
      <p:pic>
        <p:nvPicPr>
          <p:cNvPr id="6" name="Afbeelding 5">
            <a:extLst>
              <a:ext uri="{FF2B5EF4-FFF2-40B4-BE49-F238E27FC236}">
                <a16:creationId xmlns:a16="http://schemas.microsoft.com/office/drawing/2014/main" id="{757270C4-B9C6-E59D-75E5-FDE3CEEA131D}"/>
              </a:ext>
            </a:extLst>
          </p:cNvPr>
          <p:cNvPicPr>
            <a:picLocks noChangeAspect="1"/>
          </p:cNvPicPr>
          <p:nvPr/>
        </p:nvPicPr>
        <p:blipFill>
          <a:blip r:embed="rId2"/>
          <a:stretch>
            <a:fillRect/>
          </a:stretch>
        </p:blipFill>
        <p:spPr>
          <a:xfrm rot="21197137">
            <a:off x="1381323" y="1641016"/>
            <a:ext cx="6992930" cy="139858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8" name="Afbeelding 7">
            <a:extLst>
              <a:ext uri="{FF2B5EF4-FFF2-40B4-BE49-F238E27FC236}">
                <a16:creationId xmlns:a16="http://schemas.microsoft.com/office/drawing/2014/main" id="{40F22755-6EC8-47DD-13F4-87911A4B220B}"/>
              </a:ext>
            </a:extLst>
          </p:cNvPr>
          <p:cNvPicPr>
            <a:picLocks noChangeAspect="1"/>
          </p:cNvPicPr>
          <p:nvPr/>
        </p:nvPicPr>
        <p:blipFill>
          <a:blip r:embed="rId3"/>
          <a:stretch>
            <a:fillRect/>
          </a:stretch>
        </p:blipFill>
        <p:spPr>
          <a:xfrm rot="257033">
            <a:off x="4564250" y="2979993"/>
            <a:ext cx="6796569" cy="165936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0" name="Afbeelding 9">
            <a:extLst>
              <a:ext uri="{FF2B5EF4-FFF2-40B4-BE49-F238E27FC236}">
                <a16:creationId xmlns:a16="http://schemas.microsoft.com/office/drawing/2014/main" id="{54D7FF6B-41FF-D1EC-0D56-A4D2A33D5C06}"/>
              </a:ext>
            </a:extLst>
          </p:cNvPr>
          <p:cNvPicPr>
            <a:picLocks noChangeAspect="1"/>
          </p:cNvPicPr>
          <p:nvPr/>
        </p:nvPicPr>
        <p:blipFill>
          <a:blip r:embed="rId4"/>
          <a:stretch>
            <a:fillRect/>
          </a:stretch>
        </p:blipFill>
        <p:spPr>
          <a:xfrm>
            <a:off x="2495909" y="4595137"/>
            <a:ext cx="7382629" cy="156897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890247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842A48-68F1-AD15-6EFF-F1E4BCE6EDD0}"/>
              </a:ext>
            </a:extLst>
          </p:cNvPr>
          <p:cNvSpPr>
            <a:spLocks noGrp="1"/>
          </p:cNvSpPr>
          <p:nvPr>
            <p:ph type="title"/>
          </p:nvPr>
        </p:nvSpPr>
        <p:spPr/>
        <p:txBody>
          <a:bodyPr/>
          <a:lstStyle/>
          <a:p>
            <a:r>
              <a:rPr lang="nl-NL" sz="2500"/>
              <a:t>Introductie LPZ | </a:t>
            </a:r>
            <a:r>
              <a:rPr lang="nl-NL" sz="2500" err="1"/>
              <a:t>Kaderstellende</a:t>
            </a:r>
            <a:r>
              <a:rPr lang="nl-NL" sz="2500"/>
              <a:t> afspraken </a:t>
            </a:r>
          </a:p>
        </p:txBody>
      </p:sp>
      <p:sp>
        <p:nvSpPr>
          <p:cNvPr id="4" name="Tijdelijke aanduiding voor dianummer 3">
            <a:extLst>
              <a:ext uri="{FF2B5EF4-FFF2-40B4-BE49-F238E27FC236}">
                <a16:creationId xmlns:a16="http://schemas.microsoft.com/office/drawing/2014/main" id="{74A10888-3498-95DD-35E4-B24AB20F649A}"/>
              </a:ext>
            </a:extLst>
          </p:cNvPr>
          <p:cNvSpPr>
            <a:spLocks noGrp="1"/>
          </p:cNvSpPr>
          <p:nvPr>
            <p:ph type="sldNum" sz="quarter" idx="12"/>
          </p:nvPr>
        </p:nvSpPr>
        <p:spPr/>
        <p:txBody>
          <a:bodyPr/>
          <a:lstStyle/>
          <a:p>
            <a:fld id="{69E57DC2-970A-4B3E-BB1C-7A09969E49DF}" type="slidenum">
              <a:rPr lang="nl-NL" smtClean="0"/>
              <a:t>6</a:t>
            </a:fld>
            <a:endParaRPr lang="nl-NL"/>
          </a:p>
        </p:txBody>
      </p:sp>
      <p:sp>
        <p:nvSpPr>
          <p:cNvPr id="11" name="Rectangle 69">
            <a:extLst>
              <a:ext uri="{FF2B5EF4-FFF2-40B4-BE49-F238E27FC236}">
                <a16:creationId xmlns:a16="http://schemas.microsoft.com/office/drawing/2014/main" id="{CD8AA0C6-707C-BC49-854E-E49AF0E36DF2}"/>
              </a:ext>
            </a:extLst>
          </p:cNvPr>
          <p:cNvSpPr/>
          <p:nvPr/>
        </p:nvSpPr>
        <p:spPr>
          <a:xfrm>
            <a:off x="1368568" y="5080704"/>
            <a:ext cx="10142706" cy="1383602"/>
          </a:xfrm>
          <a:prstGeom prst="rect">
            <a:avLst/>
          </a:prstGeom>
          <a:noFill/>
          <a:ln w="317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t"/>
          <a:lstStyle/>
          <a:p>
            <a:pPr marL="898525" marR="0" lvl="1" indent="-171450" algn="l" defTabSz="404813" rtl="0" eaLnBrk="1" fontAlgn="auto" latinLnBrk="0" hangingPunct="1">
              <a:lnSpc>
                <a:spcPct val="120000"/>
              </a:lnSpc>
              <a:spcBef>
                <a:spcPts val="0"/>
              </a:spcBef>
              <a:spcAft>
                <a:spcPts val="0"/>
              </a:spcAft>
              <a:buClrTx/>
              <a:buSzTx/>
              <a:buFontTx/>
              <a:buNone/>
              <a:tabLst/>
              <a:defRPr/>
            </a:pPr>
            <a:endParaRPr lang="nl-NL" sz="1400">
              <a:solidFill>
                <a:schemeClr val="tx1">
                  <a:lumMod val="50000"/>
                  <a:lumOff val="50000"/>
                </a:schemeClr>
              </a:solidFill>
              <a:latin typeface="+mj-lt"/>
            </a:endParaRPr>
          </a:p>
        </p:txBody>
      </p:sp>
      <p:pic>
        <p:nvPicPr>
          <p:cNvPr id="12" name="Picture 6" descr="Implementatieplan Zorgcoördinatie - Traumacentrum Zuidwest-Nederland">
            <a:extLst>
              <a:ext uri="{FF2B5EF4-FFF2-40B4-BE49-F238E27FC236}">
                <a16:creationId xmlns:a16="http://schemas.microsoft.com/office/drawing/2014/main" id="{7EAD5A70-BCAE-CD93-D10E-C77E799E6AE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29609" y="5128877"/>
            <a:ext cx="727451" cy="1038872"/>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oep 17">
            <a:extLst>
              <a:ext uri="{FF2B5EF4-FFF2-40B4-BE49-F238E27FC236}">
                <a16:creationId xmlns:a16="http://schemas.microsoft.com/office/drawing/2014/main" id="{2509A372-C162-196B-217A-C212FD3E9C7A}"/>
              </a:ext>
            </a:extLst>
          </p:cNvPr>
          <p:cNvGrpSpPr/>
          <p:nvPr/>
        </p:nvGrpSpPr>
        <p:grpSpPr>
          <a:xfrm>
            <a:off x="1371600" y="1025151"/>
            <a:ext cx="10142705" cy="1377858"/>
            <a:chOff x="1371600" y="1025151"/>
            <a:chExt cx="10142705" cy="1377858"/>
          </a:xfrm>
        </p:grpSpPr>
        <p:pic>
          <p:nvPicPr>
            <p:cNvPr id="5" name="Picture 2" descr="Integraal Zorgakkoord (IZA) - Schildklier Organisatie Nederland">
              <a:extLst>
                <a:ext uri="{FF2B5EF4-FFF2-40B4-BE49-F238E27FC236}">
                  <a16:creationId xmlns:a16="http://schemas.microsoft.com/office/drawing/2014/main" id="{593D0679-878B-FF8F-DE57-0DA24C2E5F6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29609" y="1175938"/>
              <a:ext cx="716113" cy="1011651"/>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69">
              <a:extLst>
                <a:ext uri="{FF2B5EF4-FFF2-40B4-BE49-F238E27FC236}">
                  <a16:creationId xmlns:a16="http://schemas.microsoft.com/office/drawing/2014/main" id="{175D3C7C-9A5C-CF8F-5CF9-B0BD8FEEC7E7}"/>
                </a:ext>
              </a:extLst>
            </p:cNvPr>
            <p:cNvSpPr/>
            <p:nvPr/>
          </p:nvSpPr>
          <p:spPr>
            <a:xfrm>
              <a:off x="1371600" y="1025151"/>
              <a:ext cx="10142705" cy="1343540"/>
            </a:xfrm>
            <a:prstGeom prst="rect">
              <a:avLst/>
            </a:prstGeom>
            <a:noFill/>
            <a:ln w="317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t"/>
            <a:lstStyle/>
            <a:p>
              <a:pPr marL="898525" marR="0" lvl="1" indent="-171450" algn="l" defTabSz="404813" rtl="0" eaLnBrk="1" fontAlgn="auto" latinLnBrk="0" hangingPunct="1">
                <a:lnSpc>
                  <a:spcPct val="120000"/>
                </a:lnSpc>
                <a:spcBef>
                  <a:spcPts val="0"/>
                </a:spcBef>
                <a:spcAft>
                  <a:spcPts val="0"/>
                </a:spcAft>
                <a:buClrTx/>
                <a:buSzTx/>
                <a:buFontTx/>
                <a:buNone/>
                <a:tabLst/>
                <a:defRPr/>
              </a:pPr>
              <a:endParaRPr lang="nl-NL" sz="1400">
                <a:solidFill>
                  <a:schemeClr val="tx1">
                    <a:lumMod val="50000"/>
                    <a:lumOff val="50000"/>
                  </a:schemeClr>
                </a:solidFill>
                <a:latin typeface="+mj-lt"/>
              </a:endParaRPr>
            </a:p>
          </p:txBody>
        </p:sp>
        <p:sp>
          <p:nvSpPr>
            <p:cNvPr id="13" name="Tekstvak 12">
              <a:extLst>
                <a:ext uri="{FF2B5EF4-FFF2-40B4-BE49-F238E27FC236}">
                  <a16:creationId xmlns:a16="http://schemas.microsoft.com/office/drawing/2014/main" id="{B3DAF2FF-CE47-32AA-994F-EB756CF6B711}"/>
                </a:ext>
              </a:extLst>
            </p:cNvPr>
            <p:cNvSpPr txBox="1"/>
            <p:nvPr/>
          </p:nvSpPr>
          <p:spPr>
            <a:xfrm>
              <a:off x="2517594" y="1035262"/>
              <a:ext cx="8949788" cy="1367747"/>
            </a:xfrm>
            <a:prstGeom prst="rect">
              <a:avLst/>
            </a:prstGeom>
            <a:noFill/>
          </p:spPr>
          <p:txBody>
            <a:bodyPr wrap="square" rtlCol="0">
              <a:spAutoFit/>
            </a:bodyPr>
            <a:lstStyle/>
            <a:p>
              <a:pPr indent="-171450" defTabSz="404813">
                <a:lnSpc>
                  <a:spcPct val="120000"/>
                </a:lnSpc>
                <a:defRPr/>
              </a:pPr>
              <a:r>
                <a:rPr kumimoji="0" lang="nl-NL" sz="1400" b="1" i="0" u="none" strike="noStrike" kern="1200" cap="none" spc="0" normalizeH="0" baseline="0" noProof="0">
                  <a:ln>
                    <a:noFill/>
                  </a:ln>
                  <a:solidFill>
                    <a:schemeClr val="tx2"/>
                  </a:solidFill>
                  <a:effectLst/>
                  <a:uLnTx/>
                  <a:uFillTx/>
                  <a:latin typeface="Barlow" pitchFamily="2" charset="77"/>
                </a:rPr>
                <a:t>Integraal zorgakkoord (IZA, 2022)</a:t>
              </a:r>
            </a:p>
            <a:p>
              <a:pPr indent="-171450" defTabSz="404813">
                <a:lnSpc>
                  <a:spcPct val="120000"/>
                </a:lnSpc>
                <a:defRPr/>
              </a:pPr>
              <a:r>
                <a:rPr lang="nl-NL" sz="1400">
                  <a:solidFill>
                    <a:schemeClr val="tx1">
                      <a:lumMod val="50000"/>
                      <a:lumOff val="50000"/>
                    </a:schemeClr>
                  </a:solidFill>
                  <a:latin typeface="Barlow" pitchFamily="2" charset="77"/>
                </a:rPr>
                <a:t>Inzicht in de benodigde en beschikbare capaciteit van de gehele (regionale) acute zorgketen is noodzakelijk voor zorgcoördinatie en het optimaal inrichten van de regionale acute zorg: “Relevante zorgaanbieders waaronder aanbieders van ELV en acute WLZ-zorg sluiten aan bij het Landelijk Platform Zorgcoördinatie (LPZ) en delen verplicht de noodzakelijke capaciteitsinformatie.” </a:t>
              </a:r>
            </a:p>
          </p:txBody>
        </p:sp>
      </p:grpSp>
      <p:grpSp>
        <p:nvGrpSpPr>
          <p:cNvPr id="19" name="Groep 18">
            <a:extLst>
              <a:ext uri="{FF2B5EF4-FFF2-40B4-BE49-F238E27FC236}">
                <a16:creationId xmlns:a16="http://schemas.microsoft.com/office/drawing/2014/main" id="{9210B9D5-274C-336B-7BB9-840501C80550}"/>
              </a:ext>
            </a:extLst>
          </p:cNvPr>
          <p:cNvGrpSpPr/>
          <p:nvPr/>
        </p:nvGrpSpPr>
        <p:grpSpPr>
          <a:xfrm>
            <a:off x="1371600" y="2460157"/>
            <a:ext cx="10142706" cy="1257133"/>
            <a:chOff x="1371600" y="2460157"/>
            <a:chExt cx="10142706" cy="1257133"/>
          </a:xfrm>
        </p:grpSpPr>
        <p:pic>
          <p:nvPicPr>
            <p:cNvPr id="6" name="Picture 4" descr="Kwaliteitskader Spoedzorgketen - Acute Zorgnetwerk">
              <a:extLst>
                <a:ext uri="{FF2B5EF4-FFF2-40B4-BE49-F238E27FC236}">
                  <a16:creationId xmlns:a16="http://schemas.microsoft.com/office/drawing/2014/main" id="{92140868-4B4C-569A-4B30-42EF037A0B7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9609" y="2556465"/>
              <a:ext cx="727451" cy="1160825"/>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9">
              <a:extLst>
                <a:ext uri="{FF2B5EF4-FFF2-40B4-BE49-F238E27FC236}">
                  <a16:creationId xmlns:a16="http://schemas.microsoft.com/office/drawing/2014/main" id="{280E0D94-EABD-D758-DAD7-6EFB5A764F81}"/>
                </a:ext>
              </a:extLst>
            </p:cNvPr>
            <p:cNvSpPr/>
            <p:nvPr/>
          </p:nvSpPr>
          <p:spPr>
            <a:xfrm>
              <a:off x="1371600" y="2460157"/>
              <a:ext cx="10142706" cy="1207173"/>
            </a:xfrm>
            <a:prstGeom prst="rect">
              <a:avLst/>
            </a:prstGeom>
            <a:noFill/>
            <a:ln w="317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t"/>
            <a:lstStyle/>
            <a:p>
              <a:pPr marL="898525" marR="0" lvl="1" indent="-171450" algn="l" defTabSz="404813" rtl="0" eaLnBrk="1" fontAlgn="auto" latinLnBrk="0" hangingPunct="1">
                <a:lnSpc>
                  <a:spcPct val="120000"/>
                </a:lnSpc>
                <a:spcBef>
                  <a:spcPts val="0"/>
                </a:spcBef>
                <a:spcAft>
                  <a:spcPts val="0"/>
                </a:spcAft>
                <a:buClrTx/>
                <a:buSzTx/>
                <a:buFontTx/>
                <a:buNone/>
                <a:tabLst/>
                <a:defRPr/>
              </a:pPr>
              <a:endParaRPr lang="nl-NL" sz="1400">
                <a:solidFill>
                  <a:schemeClr val="tx1">
                    <a:lumMod val="50000"/>
                    <a:lumOff val="50000"/>
                  </a:schemeClr>
                </a:solidFill>
                <a:latin typeface="+mj-lt"/>
              </a:endParaRPr>
            </a:p>
          </p:txBody>
        </p:sp>
        <p:sp>
          <p:nvSpPr>
            <p:cNvPr id="15" name="Tekstvak 14">
              <a:extLst>
                <a:ext uri="{FF2B5EF4-FFF2-40B4-BE49-F238E27FC236}">
                  <a16:creationId xmlns:a16="http://schemas.microsoft.com/office/drawing/2014/main" id="{569EC995-9220-2C5D-7894-F13113127859}"/>
                </a:ext>
              </a:extLst>
            </p:cNvPr>
            <p:cNvSpPr txBox="1"/>
            <p:nvPr/>
          </p:nvSpPr>
          <p:spPr>
            <a:xfrm>
              <a:off x="2592393" y="2584925"/>
              <a:ext cx="8921912" cy="850682"/>
            </a:xfrm>
            <a:prstGeom prst="rect">
              <a:avLst/>
            </a:prstGeom>
            <a:noFill/>
          </p:spPr>
          <p:txBody>
            <a:bodyPr wrap="square">
              <a:spAutoFit/>
            </a:bodyPr>
            <a:lstStyle/>
            <a:p>
              <a:pPr marL="0" marR="0" lvl="1" indent="-171450" algn="l" defTabSz="404813" rtl="0" eaLnBrk="1" fontAlgn="auto" latinLnBrk="0" hangingPunct="1">
                <a:lnSpc>
                  <a:spcPct val="120000"/>
                </a:lnSpc>
                <a:spcBef>
                  <a:spcPts val="0"/>
                </a:spcBef>
                <a:spcAft>
                  <a:spcPts val="0"/>
                </a:spcAft>
                <a:buClrTx/>
                <a:buSzTx/>
                <a:buFontTx/>
                <a:buNone/>
                <a:tabLst/>
                <a:defRPr/>
              </a:pPr>
              <a:r>
                <a:rPr kumimoji="0" lang="nl-NL" sz="1400" b="1" i="0" u="none" strike="noStrike" kern="1200" cap="none" spc="0" normalizeH="0" baseline="0" noProof="0">
                  <a:ln>
                    <a:noFill/>
                  </a:ln>
                  <a:solidFill>
                    <a:schemeClr val="tx2"/>
                  </a:solidFill>
                  <a:effectLst/>
                  <a:uLnTx/>
                  <a:uFillTx/>
                  <a:latin typeface="Barlow" pitchFamily="2" charset="77"/>
                </a:rPr>
                <a:t>Kwaliteitskader Spoedzorgketen (2020)</a:t>
              </a:r>
              <a:r>
                <a:rPr lang="nl-NL" sz="1400" b="1">
                  <a:solidFill>
                    <a:schemeClr val="tx2"/>
                  </a:solidFill>
                  <a:latin typeface="Barlow" pitchFamily="2" charset="77"/>
                </a:rPr>
                <a:t> </a:t>
              </a:r>
            </a:p>
            <a:p>
              <a:pPr marL="0" marR="0" lvl="1" indent="-171450" algn="l" defTabSz="404813" rtl="0" eaLnBrk="1" fontAlgn="auto" latinLnBrk="0" hangingPunct="1">
                <a:lnSpc>
                  <a:spcPct val="120000"/>
                </a:lnSpc>
                <a:spcBef>
                  <a:spcPts val="0"/>
                </a:spcBef>
                <a:spcAft>
                  <a:spcPts val="0"/>
                </a:spcAft>
                <a:buClrTx/>
                <a:buSzTx/>
                <a:buFontTx/>
                <a:buNone/>
                <a:tabLst/>
                <a:defRPr/>
              </a:pPr>
              <a:r>
                <a:rPr lang="nl-NL" sz="1400">
                  <a:solidFill>
                    <a:schemeClr val="tx1">
                      <a:lumMod val="50000"/>
                      <a:lumOff val="50000"/>
                    </a:schemeClr>
                  </a:solidFill>
                  <a:latin typeface="Barlow" pitchFamily="2" charset="77"/>
                </a:rPr>
                <a:t>“Alle zorgaanbieders in een ROAZ-regio hebben 24/7 inzicht in de beschikbaarheid en de capaciteit van de vervolgzorg vanuit de huisartsenzorg/HAP, de SEH of het ziekenhuis.”</a:t>
              </a:r>
            </a:p>
          </p:txBody>
        </p:sp>
      </p:grpSp>
      <p:grpSp>
        <p:nvGrpSpPr>
          <p:cNvPr id="20" name="Groep 19">
            <a:extLst>
              <a:ext uri="{FF2B5EF4-FFF2-40B4-BE49-F238E27FC236}">
                <a16:creationId xmlns:a16="http://schemas.microsoft.com/office/drawing/2014/main" id="{E07F1718-D7C5-9AB2-B565-BA5BE2AFA6B4}"/>
              </a:ext>
            </a:extLst>
          </p:cNvPr>
          <p:cNvGrpSpPr/>
          <p:nvPr/>
        </p:nvGrpSpPr>
        <p:grpSpPr>
          <a:xfrm>
            <a:off x="1371600" y="3745275"/>
            <a:ext cx="10142706" cy="1661993"/>
            <a:chOff x="1371600" y="3624504"/>
            <a:chExt cx="10142706" cy="1685848"/>
          </a:xfrm>
        </p:grpSpPr>
        <p:pic>
          <p:nvPicPr>
            <p:cNvPr id="9" name="Picture 4" descr="Wetgeving langdurige zorg">
              <a:extLst>
                <a:ext uri="{FF2B5EF4-FFF2-40B4-BE49-F238E27FC236}">
                  <a16:creationId xmlns:a16="http://schemas.microsoft.com/office/drawing/2014/main" id="{5D107E6B-117C-9456-9E6B-38E13581F0F4}"/>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5304" r="25301"/>
            <a:stretch/>
          </p:blipFill>
          <p:spPr bwMode="auto">
            <a:xfrm>
              <a:off x="1629609" y="3784505"/>
              <a:ext cx="727451" cy="769536"/>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69">
              <a:extLst>
                <a:ext uri="{FF2B5EF4-FFF2-40B4-BE49-F238E27FC236}">
                  <a16:creationId xmlns:a16="http://schemas.microsoft.com/office/drawing/2014/main" id="{80B883B0-1A75-5D2C-04E1-606B6ACF04A6}"/>
                </a:ext>
              </a:extLst>
            </p:cNvPr>
            <p:cNvSpPr/>
            <p:nvPr/>
          </p:nvSpPr>
          <p:spPr>
            <a:xfrm>
              <a:off x="1371600" y="3633012"/>
              <a:ext cx="10142706" cy="1294250"/>
            </a:xfrm>
            <a:prstGeom prst="rect">
              <a:avLst/>
            </a:prstGeom>
            <a:noFill/>
            <a:ln w="317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t"/>
            <a:lstStyle/>
            <a:p>
              <a:pPr marL="898525" marR="0" lvl="1" indent="-171450" algn="l" defTabSz="404813" rtl="0" eaLnBrk="1" fontAlgn="auto" latinLnBrk="0" hangingPunct="1">
                <a:lnSpc>
                  <a:spcPct val="120000"/>
                </a:lnSpc>
                <a:spcBef>
                  <a:spcPts val="0"/>
                </a:spcBef>
                <a:spcAft>
                  <a:spcPts val="0"/>
                </a:spcAft>
                <a:buClrTx/>
                <a:buSzTx/>
                <a:buFontTx/>
                <a:buNone/>
                <a:tabLst/>
                <a:defRPr/>
              </a:pPr>
              <a:endParaRPr lang="nl-NL" sz="1400">
                <a:solidFill>
                  <a:schemeClr val="tx1">
                    <a:lumMod val="50000"/>
                    <a:lumOff val="50000"/>
                  </a:schemeClr>
                </a:solidFill>
                <a:latin typeface="+mj-lt"/>
              </a:endParaRPr>
            </a:p>
          </p:txBody>
        </p:sp>
        <p:sp>
          <p:nvSpPr>
            <p:cNvPr id="16" name="Tekstvak 15">
              <a:extLst>
                <a:ext uri="{FF2B5EF4-FFF2-40B4-BE49-F238E27FC236}">
                  <a16:creationId xmlns:a16="http://schemas.microsoft.com/office/drawing/2014/main" id="{84548E6E-F778-73BD-AD1C-8E560BD6D48A}"/>
                </a:ext>
              </a:extLst>
            </p:cNvPr>
            <p:cNvSpPr txBox="1"/>
            <p:nvPr/>
          </p:nvSpPr>
          <p:spPr>
            <a:xfrm>
              <a:off x="2554994" y="3624504"/>
              <a:ext cx="8874988" cy="1685848"/>
            </a:xfrm>
            <a:prstGeom prst="rect">
              <a:avLst/>
            </a:prstGeom>
            <a:noFill/>
          </p:spPr>
          <p:txBody>
            <a:bodyPr wrap="square" rtlCol="0">
              <a:spAutoFit/>
            </a:bodyPr>
            <a:lstStyle/>
            <a:p>
              <a:pPr indent="-171450" defTabSz="404813">
                <a:lnSpc>
                  <a:spcPct val="120000"/>
                </a:lnSpc>
                <a:defRPr/>
              </a:pPr>
              <a:r>
                <a:rPr kumimoji="0" lang="nl-NL" sz="1400" b="1" i="0" u="none" strike="noStrike" kern="1200" cap="none" spc="0" normalizeH="0" baseline="0" noProof="0">
                  <a:ln>
                    <a:noFill/>
                  </a:ln>
                  <a:solidFill>
                    <a:schemeClr val="tx2"/>
                  </a:solidFill>
                  <a:effectLst/>
                  <a:uLnTx/>
                  <a:uFillTx/>
                  <a:latin typeface="Barlow" pitchFamily="2" charset="77"/>
                </a:rPr>
                <a:t>AMvB Acute </a:t>
              </a:r>
              <a:r>
                <a:rPr lang="nl-NL" sz="1400" b="1">
                  <a:solidFill>
                    <a:schemeClr val="tx2"/>
                  </a:solidFill>
                  <a:latin typeface="Barlow" pitchFamily="2" charset="77"/>
                </a:rPr>
                <a:t>Zorg (2022)</a:t>
              </a:r>
              <a:endParaRPr kumimoji="0" lang="nl-NL" sz="1400" b="1" i="0" u="none" strike="noStrike" kern="1200" cap="none" spc="0" normalizeH="0" baseline="0" noProof="0">
                <a:ln>
                  <a:noFill/>
                </a:ln>
                <a:solidFill>
                  <a:schemeClr val="tx2"/>
                </a:solidFill>
                <a:effectLst/>
                <a:uLnTx/>
                <a:uFillTx/>
                <a:latin typeface="Barlow" pitchFamily="2" charset="77"/>
              </a:endParaRPr>
            </a:p>
            <a:p>
              <a:pPr marL="0" marR="0" lvl="1" indent="0" algn="l" defTabSz="457200" rtl="0" eaLnBrk="1" fontAlgn="auto" latinLnBrk="0" hangingPunct="1">
                <a:lnSpc>
                  <a:spcPct val="120000"/>
                </a:lnSpc>
                <a:spcBef>
                  <a:spcPts val="0"/>
                </a:spcBef>
                <a:spcAft>
                  <a:spcPts val="0"/>
                </a:spcAft>
                <a:buClrTx/>
                <a:buSzTx/>
                <a:buFontTx/>
                <a:buNone/>
                <a:tabLst/>
                <a:defRPr/>
              </a:pPr>
              <a:r>
                <a:rPr lang="nl-NL" sz="1400">
                  <a:solidFill>
                    <a:schemeClr val="tx1">
                      <a:lumMod val="50000"/>
                      <a:lumOff val="50000"/>
                    </a:schemeClr>
                  </a:solidFill>
                  <a:latin typeface="Barlow" pitchFamily="2" charset="77"/>
                </a:rPr>
                <a:t>Stelt dat zorgaanbieders in de regio “de informatie delen teneinde inzicht te bieden in de actueel beschikbare capaciteit aan acute zorg in de regio, zodat de Regionale Ambulancevoorziening weet waar op een concreet moment naartoe moet worden gereden met een patiënt en ook de huisarts weet waar hij de patiënt naartoe kan verwijzen.” </a:t>
              </a:r>
            </a:p>
            <a:p>
              <a:endParaRPr lang="nl-NL"/>
            </a:p>
          </p:txBody>
        </p:sp>
      </p:grpSp>
      <p:sp>
        <p:nvSpPr>
          <p:cNvPr id="21" name="Tekstvak 20">
            <a:extLst>
              <a:ext uri="{FF2B5EF4-FFF2-40B4-BE49-F238E27FC236}">
                <a16:creationId xmlns:a16="http://schemas.microsoft.com/office/drawing/2014/main" id="{E9E47834-A187-09C0-9D0A-F3B7BA48BA4A}"/>
              </a:ext>
            </a:extLst>
          </p:cNvPr>
          <p:cNvSpPr txBox="1"/>
          <p:nvPr/>
        </p:nvSpPr>
        <p:spPr>
          <a:xfrm>
            <a:off x="2577670" y="5063079"/>
            <a:ext cx="8852312" cy="1367747"/>
          </a:xfrm>
          <a:prstGeom prst="rect">
            <a:avLst/>
          </a:prstGeom>
          <a:noFill/>
        </p:spPr>
        <p:txBody>
          <a:bodyPr wrap="square" rtlCol="0">
            <a:spAutoFit/>
          </a:bodyPr>
          <a:lstStyle/>
          <a:p>
            <a:pPr marL="0" marR="0" lvl="1" indent="-171450" algn="l" defTabSz="404813" rtl="0" eaLnBrk="1" fontAlgn="auto" latinLnBrk="0" hangingPunct="1">
              <a:lnSpc>
                <a:spcPct val="120000"/>
              </a:lnSpc>
              <a:spcBef>
                <a:spcPts val="0"/>
              </a:spcBef>
              <a:spcAft>
                <a:spcPts val="0"/>
              </a:spcAft>
              <a:buClrTx/>
              <a:buSzTx/>
              <a:buFontTx/>
              <a:buNone/>
              <a:tabLst/>
              <a:defRPr/>
            </a:pPr>
            <a:r>
              <a:rPr kumimoji="0" lang="nl-NL" sz="1400" b="1" i="0" u="none" strike="noStrike" kern="1200" cap="none" spc="0" normalizeH="0" baseline="0" noProof="0">
                <a:ln>
                  <a:noFill/>
                </a:ln>
                <a:solidFill>
                  <a:schemeClr val="tx2"/>
                </a:solidFill>
                <a:effectLst/>
                <a:uLnTx/>
                <a:uFillTx/>
                <a:latin typeface="Barlow" pitchFamily="2" charset="77"/>
              </a:rPr>
              <a:t>Implementatieplan zorgcoördinatie</a:t>
            </a:r>
          </a:p>
          <a:p>
            <a:pPr marL="0" marR="0" lvl="1" indent="-171450" algn="l" defTabSz="404813" rtl="0" eaLnBrk="1" fontAlgn="auto" latinLnBrk="0" hangingPunct="1">
              <a:lnSpc>
                <a:spcPct val="120000"/>
              </a:lnSpc>
              <a:spcBef>
                <a:spcPts val="0"/>
              </a:spcBef>
              <a:spcAft>
                <a:spcPts val="0"/>
              </a:spcAft>
              <a:buClrTx/>
              <a:buSzTx/>
              <a:buFontTx/>
              <a:buNone/>
              <a:tabLst/>
              <a:defRPr/>
            </a:pPr>
            <a:r>
              <a:rPr lang="nl-NL" sz="1400">
                <a:solidFill>
                  <a:schemeClr val="tx1">
                    <a:lumMod val="50000"/>
                    <a:lumOff val="50000"/>
                  </a:schemeClr>
                </a:solidFill>
                <a:latin typeface="Barlow" pitchFamily="2" charset="77"/>
              </a:rPr>
              <a:t>“Voor het behalen van de doelen van zorgcoördinatie, is het nodig op de lange termijn inzicht te hebben in de actuele vrij beschikbare capaciteit van de gehele keten in de ROAZ-regio. Dit gebeurt bij voorkeur geautomatiseerd en in één landelijk systeem, waarbij zowel in het adviesrapport als in het implementatieplan zorgcoördinatie een voorkeur wordt uitgesproken voor het LPZ.”</a:t>
            </a:r>
          </a:p>
        </p:txBody>
      </p:sp>
    </p:spTree>
    <p:extLst>
      <p:ext uri="{BB962C8B-B14F-4D97-AF65-F5344CB8AC3E}">
        <p14:creationId xmlns:p14="http://schemas.microsoft.com/office/powerpoint/2010/main" val="3167506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068" name="Picture 20" descr="Handen schudden doe je zo">
            <a:extLst>
              <a:ext uri="{FF2B5EF4-FFF2-40B4-BE49-F238E27FC236}">
                <a16:creationId xmlns:a16="http://schemas.microsoft.com/office/drawing/2014/main" id="{BC2B5F1F-F9B7-8777-1843-101D83C874D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40881" y="2201320"/>
            <a:ext cx="4762500" cy="3238500"/>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a:extLst>
              <a:ext uri="{FF2B5EF4-FFF2-40B4-BE49-F238E27FC236}">
                <a16:creationId xmlns:a16="http://schemas.microsoft.com/office/drawing/2014/main" id="{4625FE05-A370-2E5F-6D59-3AEC0F24A9DA}"/>
              </a:ext>
            </a:extLst>
          </p:cNvPr>
          <p:cNvSpPr>
            <a:spLocks noGrp="1"/>
          </p:cNvSpPr>
          <p:nvPr>
            <p:ph type="title"/>
          </p:nvPr>
        </p:nvSpPr>
        <p:spPr/>
        <p:txBody>
          <a:bodyPr>
            <a:noAutofit/>
          </a:bodyPr>
          <a:lstStyle/>
          <a:p>
            <a:r>
              <a:rPr lang="nl-NL" sz="2500"/>
              <a:t>Introductie LPZ | Bestuurlijke afspraken, ondertekend op 2 april 2025 door onderstaande partijen </a:t>
            </a:r>
          </a:p>
        </p:txBody>
      </p:sp>
      <p:sp>
        <p:nvSpPr>
          <p:cNvPr id="4" name="Tijdelijke aanduiding voor dianummer 3">
            <a:extLst>
              <a:ext uri="{FF2B5EF4-FFF2-40B4-BE49-F238E27FC236}">
                <a16:creationId xmlns:a16="http://schemas.microsoft.com/office/drawing/2014/main" id="{A055B3AF-7864-E610-F097-973EA363E69F}"/>
              </a:ext>
            </a:extLst>
          </p:cNvPr>
          <p:cNvSpPr>
            <a:spLocks noGrp="1"/>
          </p:cNvSpPr>
          <p:nvPr>
            <p:ph type="sldNum" sz="quarter" idx="12"/>
          </p:nvPr>
        </p:nvSpPr>
        <p:spPr/>
        <p:txBody>
          <a:bodyPr/>
          <a:lstStyle/>
          <a:p>
            <a:fld id="{69E57DC2-970A-4B3E-BB1C-7A09969E49DF}" type="slidenum">
              <a:rPr lang="nl-NL" smtClean="0"/>
              <a:t>7</a:t>
            </a:fld>
            <a:endParaRPr lang="nl-NL"/>
          </a:p>
        </p:txBody>
      </p:sp>
      <p:pic>
        <p:nvPicPr>
          <p:cNvPr id="2050" name="Picture 2" descr="Over ActiZ | ActiZ">
            <a:extLst>
              <a:ext uri="{FF2B5EF4-FFF2-40B4-BE49-F238E27FC236}">
                <a16:creationId xmlns:a16="http://schemas.microsoft.com/office/drawing/2014/main" id="{D6961064-CF91-1131-AA3A-6AF3C43A2B6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9925" t="13746" r="31243" b="12975"/>
          <a:stretch/>
        </p:blipFill>
        <p:spPr bwMode="auto">
          <a:xfrm>
            <a:off x="5120092" y="1099072"/>
            <a:ext cx="1032243" cy="1022685"/>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Nieuwsbrieven - InEen">
            <a:extLst>
              <a:ext uri="{FF2B5EF4-FFF2-40B4-BE49-F238E27FC236}">
                <a16:creationId xmlns:a16="http://schemas.microsoft.com/office/drawing/2014/main" id="{3DF00109-9ED5-8020-43B3-FF23A688BB4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53483" y="2357611"/>
            <a:ext cx="1438241" cy="1438241"/>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Over het Landelijk Netwerk Acute Zorg (LNAZ) - Landelijk Netwerk Acute Zorg  (LNAZ) — AcademicTransfer">
            <a:extLst>
              <a:ext uri="{FF2B5EF4-FFF2-40B4-BE49-F238E27FC236}">
                <a16:creationId xmlns:a16="http://schemas.microsoft.com/office/drawing/2014/main" id="{69B7C434-50BE-63F9-9962-89FE5AC00D3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44095" y="4274053"/>
            <a:ext cx="2833098" cy="936657"/>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De Nederlandse ggz | Beekdaelen Sociaal">
            <a:extLst>
              <a:ext uri="{FF2B5EF4-FFF2-40B4-BE49-F238E27FC236}">
                <a16:creationId xmlns:a16="http://schemas.microsoft.com/office/drawing/2014/main" id="{86FB8B8F-8FDE-EB43-B403-100BE97B2FB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642568" y="1091390"/>
            <a:ext cx="2140322" cy="1190833"/>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NVZ - Expertisecentrum Verduurzaming Zorg">
            <a:extLst>
              <a:ext uri="{FF2B5EF4-FFF2-40B4-BE49-F238E27FC236}">
                <a16:creationId xmlns:a16="http://schemas.microsoft.com/office/drawing/2014/main" id="{3C5821E6-8C1C-2576-142A-D3F5CEFEFCF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52750" y="4415251"/>
            <a:ext cx="2729837" cy="1910886"/>
          </a:xfrm>
          <a:prstGeom prst="rect">
            <a:avLst/>
          </a:prstGeom>
          <a:noFill/>
          <a:extLst>
            <a:ext uri="{909E8E84-426E-40DD-AFC4-6F175D3DCCD1}">
              <a14:hiddenFill xmlns:a14="http://schemas.microsoft.com/office/drawing/2010/main">
                <a:solidFill>
                  <a:srgbClr val="FFFFFF"/>
                </a:solidFill>
              </a14:hiddenFill>
            </a:ext>
          </a:extLst>
        </p:spPr>
      </p:pic>
      <p:pic>
        <p:nvPicPr>
          <p:cNvPr id="2064" name="Picture 16" descr="Zorgverzekeringskaart.nl">
            <a:extLst>
              <a:ext uri="{FF2B5EF4-FFF2-40B4-BE49-F238E27FC236}">
                <a16:creationId xmlns:a16="http://schemas.microsoft.com/office/drawing/2014/main" id="{804EC74C-9134-7F39-24C1-7D0A55BF5D0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733924" y="1218478"/>
            <a:ext cx="1700393" cy="936657"/>
          </a:xfrm>
          <a:prstGeom prst="rect">
            <a:avLst/>
          </a:prstGeom>
          <a:noFill/>
          <a:extLst>
            <a:ext uri="{909E8E84-426E-40DD-AFC4-6F175D3DCCD1}">
              <a14:hiddenFill xmlns:a14="http://schemas.microsoft.com/office/drawing/2010/main">
                <a:solidFill>
                  <a:srgbClr val="FFFFFF"/>
                </a:solidFill>
              </a14:hiddenFill>
            </a:ext>
          </a:extLst>
        </p:spPr>
      </p:pic>
      <p:pic>
        <p:nvPicPr>
          <p:cNvPr id="2066" name="Picture 18">
            <a:extLst>
              <a:ext uri="{FF2B5EF4-FFF2-40B4-BE49-F238E27FC236}">
                <a16:creationId xmlns:a16="http://schemas.microsoft.com/office/drawing/2014/main" id="{2CB40702-612E-6D82-FC5D-3A00405C4D2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931955" y="3549455"/>
            <a:ext cx="2657582" cy="833609"/>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Ambulancezorg Nederland heeft vanaf nu een nieuw logo | Ambulancezorg  Nederland">
            <a:extLst>
              <a:ext uri="{FF2B5EF4-FFF2-40B4-BE49-F238E27FC236}">
                <a16:creationId xmlns:a16="http://schemas.microsoft.com/office/drawing/2014/main" id="{A3539433-D75F-EF38-CA06-64F01625E7E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012019" y="5335375"/>
            <a:ext cx="2909354" cy="911010"/>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a:extLst>
              <a:ext uri="{FF2B5EF4-FFF2-40B4-BE49-F238E27FC236}">
                <a16:creationId xmlns:a16="http://schemas.microsoft.com/office/drawing/2014/main" id="{B792267A-2BBE-EA4F-CE41-1AD7026B37C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565253" y="1810668"/>
            <a:ext cx="2413731" cy="1340962"/>
          </a:xfrm>
          <a:prstGeom prst="rect">
            <a:avLst/>
          </a:prstGeom>
          <a:noFill/>
          <a:extLst>
            <a:ext uri="{909E8E84-426E-40DD-AFC4-6F175D3DCCD1}">
              <a14:hiddenFill xmlns:a14="http://schemas.microsoft.com/office/drawing/2010/main">
                <a:solidFill>
                  <a:srgbClr val="FFFFFF"/>
                </a:solidFill>
              </a14:hiddenFill>
            </a:ext>
          </a:extLst>
        </p:spPr>
      </p:pic>
      <p:sp>
        <p:nvSpPr>
          <p:cNvPr id="3" name="Ovaal 2">
            <a:extLst>
              <a:ext uri="{FF2B5EF4-FFF2-40B4-BE49-F238E27FC236}">
                <a16:creationId xmlns:a16="http://schemas.microsoft.com/office/drawing/2014/main" id="{48C8447C-1EDE-8410-2433-6490ABF6FB90}"/>
              </a:ext>
            </a:extLst>
          </p:cNvPr>
          <p:cNvSpPr/>
          <p:nvPr/>
        </p:nvSpPr>
        <p:spPr>
          <a:xfrm>
            <a:off x="7248540" y="4942227"/>
            <a:ext cx="3007996" cy="846667"/>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Ovaal 4">
            <a:extLst>
              <a:ext uri="{FF2B5EF4-FFF2-40B4-BE49-F238E27FC236}">
                <a16:creationId xmlns:a16="http://schemas.microsoft.com/office/drawing/2014/main" id="{86609C23-6128-C7C4-F38A-718E356D1C75}"/>
              </a:ext>
            </a:extLst>
          </p:cNvPr>
          <p:cNvSpPr/>
          <p:nvPr/>
        </p:nvSpPr>
        <p:spPr>
          <a:xfrm>
            <a:off x="8244501" y="1877837"/>
            <a:ext cx="3007996" cy="1340962"/>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41472627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4" name="Groep 23">
            <a:extLst>
              <a:ext uri="{FF2B5EF4-FFF2-40B4-BE49-F238E27FC236}">
                <a16:creationId xmlns:a16="http://schemas.microsoft.com/office/drawing/2014/main" id="{045BD6BD-28F4-FEEA-D43A-86CA14042B97}"/>
              </a:ext>
            </a:extLst>
          </p:cNvPr>
          <p:cNvGrpSpPr/>
          <p:nvPr/>
        </p:nvGrpSpPr>
        <p:grpSpPr>
          <a:xfrm>
            <a:off x="7426495" y="3752559"/>
            <a:ext cx="1035419" cy="1451528"/>
            <a:chOff x="6325546" y="2386470"/>
            <a:chExt cx="797672" cy="1114102"/>
          </a:xfrm>
        </p:grpSpPr>
        <p:pic>
          <p:nvPicPr>
            <p:cNvPr id="9" name="Graphic 8" descr="Klembord met kruizen en vinkjes silhouet">
              <a:extLst>
                <a:ext uri="{FF2B5EF4-FFF2-40B4-BE49-F238E27FC236}">
                  <a16:creationId xmlns:a16="http://schemas.microsoft.com/office/drawing/2014/main" id="{E674F304-3362-3D1D-06A2-0622141F5789}"/>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6325546" y="2386470"/>
              <a:ext cx="398836" cy="398836"/>
            </a:xfrm>
            <a:prstGeom prst="rect">
              <a:avLst/>
            </a:prstGeom>
          </p:spPr>
        </p:pic>
        <p:pic>
          <p:nvPicPr>
            <p:cNvPr id="12" name="Graphic 11" descr="Filter silhouet">
              <a:extLst>
                <a:ext uri="{FF2B5EF4-FFF2-40B4-BE49-F238E27FC236}">
                  <a16:creationId xmlns:a16="http://schemas.microsoft.com/office/drawing/2014/main" id="{AB92ADDE-77D5-E158-C8F0-EB9EC266620E}"/>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418382" y="2888571"/>
              <a:ext cx="612001" cy="612001"/>
            </a:xfrm>
            <a:prstGeom prst="rect">
              <a:avLst/>
            </a:prstGeom>
          </p:spPr>
        </p:pic>
        <p:pic>
          <p:nvPicPr>
            <p:cNvPr id="13" name="Graphic 12" descr="Kaart met speld silhouet">
              <a:extLst>
                <a:ext uri="{FF2B5EF4-FFF2-40B4-BE49-F238E27FC236}">
                  <a16:creationId xmlns:a16="http://schemas.microsoft.com/office/drawing/2014/main" id="{E2C456E0-8C84-2CCD-6FB6-F0F25FF62D65}"/>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6724382" y="2386470"/>
              <a:ext cx="398836" cy="398836"/>
            </a:xfrm>
            <a:prstGeom prst="rect">
              <a:avLst/>
            </a:prstGeom>
          </p:spPr>
        </p:pic>
      </p:grpSp>
      <p:grpSp>
        <p:nvGrpSpPr>
          <p:cNvPr id="25" name="Groep 24">
            <a:extLst>
              <a:ext uri="{FF2B5EF4-FFF2-40B4-BE49-F238E27FC236}">
                <a16:creationId xmlns:a16="http://schemas.microsoft.com/office/drawing/2014/main" id="{928161D3-5892-22DB-E0B8-557B393FA65D}"/>
              </a:ext>
            </a:extLst>
          </p:cNvPr>
          <p:cNvGrpSpPr/>
          <p:nvPr/>
        </p:nvGrpSpPr>
        <p:grpSpPr>
          <a:xfrm>
            <a:off x="10440285" y="3830469"/>
            <a:ext cx="728047" cy="1271645"/>
            <a:chOff x="9409954" y="2386470"/>
            <a:chExt cx="612001" cy="1114102"/>
          </a:xfrm>
        </p:grpSpPr>
        <p:pic>
          <p:nvPicPr>
            <p:cNvPr id="8" name="Graphic 7" descr="Telewerken silhouet">
              <a:extLst>
                <a:ext uri="{FF2B5EF4-FFF2-40B4-BE49-F238E27FC236}">
                  <a16:creationId xmlns:a16="http://schemas.microsoft.com/office/drawing/2014/main" id="{3FE14210-C096-8DD5-6343-8CFA0F2C5AF1}"/>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9409954" y="2888571"/>
              <a:ext cx="612001" cy="612001"/>
            </a:xfrm>
            <a:prstGeom prst="rect">
              <a:avLst/>
            </a:prstGeom>
          </p:spPr>
        </p:pic>
        <p:pic>
          <p:nvPicPr>
            <p:cNvPr id="14" name="Graphic 13" descr="Ontvanger silhouet">
              <a:extLst>
                <a:ext uri="{FF2B5EF4-FFF2-40B4-BE49-F238E27FC236}">
                  <a16:creationId xmlns:a16="http://schemas.microsoft.com/office/drawing/2014/main" id="{393317CD-12BE-7CFE-CBCD-33387A4DC21E}"/>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9502954" y="2386470"/>
              <a:ext cx="425999" cy="425999"/>
            </a:xfrm>
            <a:prstGeom prst="rect">
              <a:avLst/>
            </a:prstGeom>
          </p:spPr>
        </p:pic>
      </p:grpSp>
      <p:sp>
        <p:nvSpPr>
          <p:cNvPr id="15" name="Title 4">
            <a:extLst>
              <a:ext uri="{FF2B5EF4-FFF2-40B4-BE49-F238E27FC236}">
                <a16:creationId xmlns:a16="http://schemas.microsoft.com/office/drawing/2014/main" id="{85627E98-E49D-1290-F6E8-2F6F9ED01362}"/>
              </a:ext>
            </a:extLst>
          </p:cNvPr>
          <p:cNvSpPr txBox="1"/>
          <p:nvPr/>
        </p:nvSpPr>
        <p:spPr>
          <a:xfrm>
            <a:off x="700231" y="2849168"/>
            <a:ext cx="2625318" cy="713181"/>
          </a:xfrm>
          <a:prstGeom prst="rect">
            <a:avLst/>
          </a:prstGeom>
        </p:spPr>
        <p:txBody>
          <a:bodyPr vert="horz" lIns="0" tIns="0" rIns="0" bIns="0" rtlCol="0" anchor="ctr">
            <a:noAutofit/>
          </a:bodyPr>
          <a:lstStyle>
            <a:defPPr>
              <a:defRPr lang="en-US"/>
            </a:defPPr>
            <a:lvl1pPr marL="0" marR="0" lvl="0" indent="0" algn="l" defTabSz="801563" rtl="0" eaLnBrk="1" fontAlgn="auto" latinLnBrk="0" hangingPunct="1">
              <a:lnSpc>
                <a:spcPct val="90000"/>
              </a:lnSpc>
              <a:spcBef>
                <a:spcPct val="0"/>
              </a:spcBef>
              <a:spcAft>
                <a:spcPct val="0"/>
              </a:spcAft>
              <a:buClrTx/>
              <a:buSzTx/>
              <a:buFontTx/>
              <a:buNone/>
              <a:defRPr kumimoji="0" sz="1800" b="0" i="0" u="none" strike="noStrike" kern="1200" cap="none" spc="0" normalizeH="0" baseline="0">
                <a:ln>
                  <a:noFill/>
                </a:ln>
                <a:solidFill>
                  <a:srgbClr val="27254C"/>
                </a:solidFill>
                <a:effectLst/>
                <a:uLnTx/>
                <a:uFillTx/>
                <a:latin typeface="HelveticaNowDisplay Bold" panose="020B0804030202020204" pitchFamily="34" charset="0"/>
                <a:ea typeface="+mj-ea"/>
                <a:cs typeface="HelveticaNowDisplay Bold" panose="020B0804030202020204" pitchFamily="34" charset="0"/>
              </a:defRPr>
            </a:lvl1pPr>
          </a:lstStyle>
          <a:p>
            <a:pPr marL="0" marR="0" lvl="0" indent="0" algn="ctr" defTabSz="801563" fontAlgn="auto">
              <a:lnSpc>
                <a:spcPct val="90000"/>
              </a:lnSpc>
              <a:spcBef>
                <a:spcPct val="0"/>
              </a:spcBef>
              <a:spcAft>
                <a:spcPct val="0"/>
              </a:spcAft>
              <a:buSzTx/>
              <a:buNone/>
              <a:defRPr kumimoji="0" sz="1800" b="0" i="0" u="none" strike="noStrike" cap="none" spc="0" normalizeH="0" baseline="0" noProof="0">
                <a:ln>
                  <a:noFill/>
                </a:ln>
                <a:solidFill>
                  <a:srgbClr val="27254C"/>
                </a:solidFill>
                <a:uLnTx/>
                <a:uFillTx/>
                <a:latin typeface="HelveticaNowDisplay Bold" panose="020B0804030202020204" pitchFamily="34" charset="0"/>
                <a:ea typeface="+mj-ea"/>
                <a:cs typeface="HelveticaNowDisplay Bold" panose="020B0804030202020204" pitchFamily="34" charset="0"/>
              </a:defRPr>
            </a:pPr>
            <a:r>
              <a:rPr kumimoji="0" lang="nl-NL" sz="1800" b="1" i="0" u="none" strike="noStrike" cap="none" spc="0" normalizeH="0" baseline="0">
                <a:ln>
                  <a:noFill/>
                </a:ln>
                <a:solidFill>
                  <a:schemeClr val="tx2"/>
                </a:solidFill>
                <a:uLnTx/>
                <a:uFillTx/>
                <a:latin typeface="Barlow" pitchFamily="2" charset="77"/>
                <a:cs typeface="HelveticaNowDisplay ExtraBold" panose="020B0904030202020204" pitchFamily="34" charset="0"/>
              </a:rPr>
              <a:t>Geen (passende)</a:t>
            </a:r>
          </a:p>
          <a:p>
            <a:pPr marL="0" marR="0" lvl="0" indent="0" algn="ctr" defTabSz="801563" fontAlgn="auto">
              <a:lnSpc>
                <a:spcPct val="90000"/>
              </a:lnSpc>
              <a:spcBef>
                <a:spcPct val="0"/>
              </a:spcBef>
              <a:spcAft>
                <a:spcPct val="0"/>
              </a:spcAft>
              <a:buSzTx/>
              <a:buNone/>
              <a:defRPr kumimoji="0" sz="1800" b="0" i="0" u="none" strike="noStrike" cap="none" spc="0" normalizeH="0" baseline="0" noProof="0">
                <a:ln>
                  <a:noFill/>
                </a:ln>
                <a:solidFill>
                  <a:srgbClr val="27254C"/>
                </a:solidFill>
                <a:uLnTx/>
                <a:uFillTx/>
                <a:latin typeface="HelveticaNowDisplay Bold" panose="020B0804030202020204" pitchFamily="34" charset="0"/>
                <a:ea typeface="+mj-ea"/>
                <a:cs typeface="HelveticaNowDisplay Bold" panose="020B0804030202020204" pitchFamily="34" charset="0"/>
              </a:defRPr>
            </a:pPr>
            <a:r>
              <a:rPr kumimoji="0" lang="nl-NL" sz="1800" b="1" i="0" u="none" strike="noStrike" cap="none" spc="0" normalizeH="0" baseline="0">
                <a:ln>
                  <a:noFill/>
                </a:ln>
                <a:solidFill>
                  <a:schemeClr val="tx2"/>
                </a:solidFill>
                <a:uLnTx/>
                <a:uFillTx/>
                <a:latin typeface="Barlow" pitchFamily="2" charset="77"/>
                <a:cs typeface="HelveticaNowDisplay ExtraBold" panose="020B0904030202020204" pitchFamily="34" charset="0"/>
              </a:rPr>
              <a:t>capaciteit beschikbaar</a:t>
            </a:r>
          </a:p>
        </p:txBody>
      </p:sp>
      <p:grpSp>
        <p:nvGrpSpPr>
          <p:cNvPr id="20" name="Groep 19">
            <a:extLst>
              <a:ext uri="{FF2B5EF4-FFF2-40B4-BE49-F238E27FC236}">
                <a16:creationId xmlns:a16="http://schemas.microsoft.com/office/drawing/2014/main" id="{C3D2D49C-C7AB-C290-9AC9-5A50692F03D1}"/>
              </a:ext>
            </a:extLst>
          </p:cNvPr>
          <p:cNvGrpSpPr/>
          <p:nvPr/>
        </p:nvGrpSpPr>
        <p:grpSpPr>
          <a:xfrm>
            <a:off x="4434923" y="3988012"/>
            <a:ext cx="1035419" cy="1012163"/>
            <a:chOff x="4026589" y="2991051"/>
            <a:chExt cx="612001" cy="612001"/>
          </a:xfrm>
        </p:grpSpPr>
        <p:pic>
          <p:nvPicPr>
            <p:cNvPr id="18" name="Graphic 17" descr="Slapen met effen opvulling">
              <a:extLst>
                <a:ext uri="{FF2B5EF4-FFF2-40B4-BE49-F238E27FC236}">
                  <a16:creationId xmlns:a16="http://schemas.microsoft.com/office/drawing/2014/main" id="{6DC458CD-AF4D-E6B5-6B80-784A0E3AB6F0}"/>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188058" y="3112275"/>
              <a:ext cx="281549" cy="281549"/>
            </a:xfrm>
            <a:prstGeom prst="rect">
              <a:avLst/>
            </a:prstGeom>
          </p:spPr>
        </p:pic>
        <p:pic>
          <p:nvPicPr>
            <p:cNvPr id="19" name="Graphic 18" descr="Beeldscherm silhouet">
              <a:extLst>
                <a:ext uri="{FF2B5EF4-FFF2-40B4-BE49-F238E27FC236}">
                  <a16:creationId xmlns:a16="http://schemas.microsoft.com/office/drawing/2014/main" id="{24E4DAB0-F388-24A4-D6B2-7CD7F774D4B7}"/>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a:off x="4026589" y="2991051"/>
              <a:ext cx="612001" cy="612001"/>
            </a:xfrm>
            <a:prstGeom prst="rect">
              <a:avLst/>
            </a:prstGeom>
          </p:spPr>
        </p:pic>
      </p:grpSp>
      <p:sp>
        <p:nvSpPr>
          <p:cNvPr id="21" name="Title 4">
            <a:extLst>
              <a:ext uri="{FF2B5EF4-FFF2-40B4-BE49-F238E27FC236}">
                <a16:creationId xmlns:a16="http://schemas.microsoft.com/office/drawing/2014/main" id="{22CB5431-50CA-E145-15ED-8B9344112C65}"/>
              </a:ext>
            </a:extLst>
          </p:cNvPr>
          <p:cNvSpPr txBox="1"/>
          <p:nvPr/>
        </p:nvSpPr>
        <p:spPr>
          <a:xfrm>
            <a:off x="6502130" y="2849168"/>
            <a:ext cx="2625318" cy="713181"/>
          </a:xfrm>
          <a:prstGeom prst="rect">
            <a:avLst/>
          </a:prstGeom>
        </p:spPr>
        <p:txBody>
          <a:bodyPr vert="horz" lIns="0" tIns="0" rIns="0" bIns="0" rtlCol="0" anchor="ctr">
            <a:noAutofit/>
          </a:bodyPr>
          <a:lstStyle>
            <a:defPPr>
              <a:defRPr lang="en-US"/>
            </a:defPPr>
            <a:lvl1pPr marL="0" marR="0" lvl="0" indent="0" algn="l" defTabSz="801563" rtl="0" eaLnBrk="1" fontAlgn="auto" latinLnBrk="0" hangingPunct="1">
              <a:lnSpc>
                <a:spcPct val="90000"/>
              </a:lnSpc>
              <a:spcBef>
                <a:spcPct val="0"/>
              </a:spcBef>
              <a:spcAft>
                <a:spcPct val="0"/>
              </a:spcAft>
              <a:buClrTx/>
              <a:buSzTx/>
              <a:buFontTx/>
              <a:buNone/>
              <a:defRPr kumimoji="0" sz="1800" b="0" i="0" u="none" strike="noStrike" kern="1200" cap="none" spc="0" normalizeH="0" baseline="0">
                <a:ln>
                  <a:noFill/>
                </a:ln>
                <a:solidFill>
                  <a:srgbClr val="27254C"/>
                </a:solidFill>
                <a:effectLst/>
                <a:uLnTx/>
                <a:uFillTx/>
                <a:latin typeface="HelveticaNowDisplay Bold" panose="020B0804030202020204" pitchFamily="34" charset="0"/>
                <a:ea typeface="+mj-ea"/>
                <a:cs typeface="HelveticaNowDisplay Bold" panose="020B0804030202020204" pitchFamily="34" charset="0"/>
              </a:defRPr>
            </a:lvl1pPr>
          </a:lstStyle>
          <a:p>
            <a:pPr marL="0" marR="0" lvl="0" indent="0" algn="ctr" defTabSz="801563" fontAlgn="auto">
              <a:lnSpc>
                <a:spcPct val="90000"/>
              </a:lnSpc>
              <a:spcBef>
                <a:spcPct val="0"/>
              </a:spcBef>
              <a:spcAft>
                <a:spcPct val="0"/>
              </a:spcAft>
              <a:buSzTx/>
              <a:buNone/>
              <a:defRPr kumimoji="0" sz="1800" b="0" i="0" u="none" strike="noStrike" cap="none" spc="0" normalizeH="0" baseline="0" noProof="0">
                <a:ln>
                  <a:noFill/>
                </a:ln>
                <a:solidFill>
                  <a:srgbClr val="27254C"/>
                </a:solidFill>
                <a:uLnTx/>
                <a:uFillTx/>
                <a:latin typeface="HelveticaNowDisplay Bold" panose="020B0804030202020204" pitchFamily="34" charset="0"/>
                <a:ea typeface="+mj-ea"/>
                <a:cs typeface="HelveticaNowDisplay Bold" panose="020B0804030202020204" pitchFamily="34" charset="0"/>
              </a:defRPr>
            </a:pPr>
            <a:r>
              <a:rPr kumimoji="0" lang="nl-NL" sz="1800" b="1" i="0" u="none" strike="noStrike" cap="none" spc="0" normalizeH="0" baseline="0">
                <a:ln>
                  <a:noFill/>
                </a:ln>
                <a:solidFill>
                  <a:schemeClr val="tx2"/>
                </a:solidFill>
                <a:uLnTx/>
                <a:uFillTx/>
                <a:latin typeface="Barlow" pitchFamily="2" charset="77"/>
                <a:cs typeface="HelveticaNowDisplay ExtraBold" panose="020B0904030202020204" pitchFamily="34" charset="0"/>
              </a:rPr>
              <a:t>Filteren op</a:t>
            </a:r>
          </a:p>
          <a:p>
            <a:pPr marL="0" marR="0" lvl="0" indent="0" algn="ctr" defTabSz="801563" fontAlgn="auto">
              <a:lnSpc>
                <a:spcPct val="90000"/>
              </a:lnSpc>
              <a:spcBef>
                <a:spcPct val="0"/>
              </a:spcBef>
              <a:spcAft>
                <a:spcPct val="0"/>
              </a:spcAft>
              <a:buSzTx/>
              <a:buNone/>
              <a:defRPr kumimoji="0" sz="1800" b="0" i="0" u="none" strike="noStrike" cap="none" spc="0" normalizeH="0" baseline="0" noProof="0">
                <a:ln>
                  <a:noFill/>
                </a:ln>
                <a:solidFill>
                  <a:srgbClr val="27254C"/>
                </a:solidFill>
                <a:uLnTx/>
                <a:uFillTx/>
                <a:latin typeface="HelveticaNowDisplay Bold" panose="020B0804030202020204" pitchFamily="34" charset="0"/>
                <a:ea typeface="+mj-ea"/>
                <a:cs typeface="HelveticaNowDisplay Bold" panose="020B0804030202020204" pitchFamily="34" charset="0"/>
              </a:defRPr>
            </a:pPr>
            <a:r>
              <a:rPr kumimoji="0" lang="nl-NL" sz="1800" b="1" i="0" u="none" strike="noStrike" cap="none" spc="0" normalizeH="0" baseline="0">
                <a:ln>
                  <a:noFill/>
                </a:ln>
                <a:solidFill>
                  <a:schemeClr val="tx2"/>
                </a:solidFill>
                <a:uLnTx/>
                <a:uFillTx/>
                <a:latin typeface="Barlow" pitchFamily="2" charset="77"/>
                <a:cs typeface="HelveticaNowDisplay ExtraBold" panose="020B0904030202020204" pitchFamily="34" charset="0"/>
              </a:rPr>
              <a:t>passende capaciteit</a:t>
            </a:r>
          </a:p>
        </p:txBody>
      </p:sp>
      <p:sp>
        <p:nvSpPr>
          <p:cNvPr id="22" name="Title 4">
            <a:extLst>
              <a:ext uri="{FF2B5EF4-FFF2-40B4-BE49-F238E27FC236}">
                <a16:creationId xmlns:a16="http://schemas.microsoft.com/office/drawing/2014/main" id="{639EC999-4F10-E79A-836D-9BA2C69BFF08}"/>
              </a:ext>
            </a:extLst>
          </p:cNvPr>
          <p:cNvSpPr txBox="1"/>
          <p:nvPr/>
        </p:nvSpPr>
        <p:spPr>
          <a:xfrm>
            <a:off x="3646920" y="2849168"/>
            <a:ext cx="2625318" cy="713181"/>
          </a:xfrm>
          <a:prstGeom prst="rect">
            <a:avLst/>
          </a:prstGeom>
        </p:spPr>
        <p:txBody>
          <a:bodyPr vert="horz" lIns="0" tIns="0" rIns="0" bIns="0" rtlCol="0" anchor="ctr">
            <a:noAutofit/>
          </a:bodyPr>
          <a:lstStyle>
            <a:defPPr>
              <a:defRPr lang="en-US"/>
            </a:defPPr>
            <a:lvl1pPr marL="0" marR="0" lvl="0" indent="0" algn="l" defTabSz="801563" rtl="0" eaLnBrk="1" fontAlgn="auto" latinLnBrk="0" hangingPunct="1">
              <a:lnSpc>
                <a:spcPct val="90000"/>
              </a:lnSpc>
              <a:spcBef>
                <a:spcPct val="0"/>
              </a:spcBef>
              <a:spcAft>
                <a:spcPct val="0"/>
              </a:spcAft>
              <a:buClrTx/>
              <a:buSzTx/>
              <a:buFontTx/>
              <a:buNone/>
              <a:defRPr kumimoji="0" sz="1800" b="0" i="0" u="none" strike="noStrike" kern="1200" cap="none" spc="0" normalizeH="0" baseline="0">
                <a:ln>
                  <a:noFill/>
                </a:ln>
                <a:solidFill>
                  <a:srgbClr val="27254C"/>
                </a:solidFill>
                <a:effectLst/>
                <a:uLnTx/>
                <a:uFillTx/>
                <a:latin typeface="HelveticaNowDisplay Bold" panose="020B0804030202020204" pitchFamily="34" charset="0"/>
                <a:ea typeface="+mj-ea"/>
                <a:cs typeface="HelveticaNowDisplay Bold" panose="020B0804030202020204" pitchFamily="34" charset="0"/>
              </a:defRPr>
            </a:lvl1pPr>
          </a:lstStyle>
          <a:p>
            <a:pPr marL="0" marR="0" lvl="0" indent="0" algn="ctr" defTabSz="801563" fontAlgn="auto">
              <a:lnSpc>
                <a:spcPct val="90000"/>
              </a:lnSpc>
              <a:spcBef>
                <a:spcPct val="0"/>
              </a:spcBef>
              <a:spcAft>
                <a:spcPct val="0"/>
              </a:spcAft>
              <a:buSzTx/>
              <a:buNone/>
              <a:defRPr kumimoji="0" sz="1800" b="0" i="0" u="none" strike="noStrike" cap="none" spc="0" normalizeH="0" baseline="0" noProof="0">
                <a:ln>
                  <a:noFill/>
                </a:ln>
                <a:solidFill>
                  <a:srgbClr val="27254C"/>
                </a:solidFill>
                <a:uLnTx/>
                <a:uFillTx/>
                <a:latin typeface="HelveticaNowDisplay Bold" panose="020B0804030202020204" pitchFamily="34" charset="0"/>
                <a:ea typeface="+mj-ea"/>
                <a:cs typeface="HelveticaNowDisplay Bold" panose="020B0804030202020204" pitchFamily="34" charset="0"/>
              </a:defRPr>
            </a:pPr>
            <a:r>
              <a:rPr kumimoji="0" lang="nl-NL" sz="1800" b="1" i="0" u="none" strike="noStrike" cap="none" spc="0" normalizeH="0" baseline="0">
                <a:ln>
                  <a:noFill/>
                </a:ln>
                <a:solidFill>
                  <a:schemeClr val="tx2"/>
                </a:solidFill>
                <a:uLnTx/>
                <a:uFillTx/>
                <a:latin typeface="Barlow" pitchFamily="2" charset="77"/>
                <a:cs typeface="HelveticaNowDisplay ExtraBold" panose="020B0904030202020204" pitchFamily="34" charset="0"/>
              </a:rPr>
              <a:t>Inzicht in (boven-)</a:t>
            </a:r>
          </a:p>
          <a:p>
            <a:pPr marL="0" marR="0" lvl="0" indent="0" algn="ctr" defTabSz="801563" fontAlgn="auto">
              <a:lnSpc>
                <a:spcPct val="90000"/>
              </a:lnSpc>
              <a:spcBef>
                <a:spcPct val="0"/>
              </a:spcBef>
              <a:spcAft>
                <a:spcPct val="0"/>
              </a:spcAft>
              <a:buSzTx/>
              <a:buNone/>
              <a:defRPr kumimoji="0" sz="1800" b="0" i="0" u="none" strike="noStrike" cap="none" spc="0" normalizeH="0" baseline="0" noProof="0">
                <a:ln>
                  <a:noFill/>
                </a:ln>
                <a:solidFill>
                  <a:srgbClr val="27254C"/>
                </a:solidFill>
                <a:uLnTx/>
                <a:uFillTx/>
                <a:latin typeface="HelveticaNowDisplay Bold" panose="020B0804030202020204" pitchFamily="34" charset="0"/>
                <a:ea typeface="+mj-ea"/>
                <a:cs typeface="HelveticaNowDisplay Bold" panose="020B0804030202020204" pitchFamily="34" charset="0"/>
              </a:defRPr>
            </a:pPr>
            <a:r>
              <a:rPr kumimoji="0" lang="nl-NL" sz="1800" b="1" i="0" u="none" strike="noStrike" cap="none" spc="0" normalizeH="0" baseline="0">
                <a:ln>
                  <a:noFill/>
                </a:ln>
                <a:solidFill>
                  <a:schemeClr val="tx2"/>
                </a:solidFill>
                <a:uLnTx/>
                <a:uFillTx/>
                <a:latin typeface="Barlow" pitchFamily="2" charset="77"/>
                <a:cs typeface="HelveticaNowDisplay ExtraBold" panose="020B0904030202020204" pitchFamily="34" charset="0"/>
              </a:rPr>
              <a:t>regionale capaciteit </a:t>
            </a:r>
          </a:p>
          <a:p>
            <a:pPr marL="0" marR="0" lvl="0" indent="0" algn="ctr" defTabSz="801563" fontAlgn="auto">
              <a:lnSpc>
                <a:spcPct val="90000"/>
              </a:lnSpc>
              <a:spcBef>
                <a:spcPct val="0"/>
              </a:spcBef>
              <a:spcAft>
                <a:spcPct val="0"/>
              </a:spcAft>
              <a:buSzTx/>
              <a:buNone/>
              <a:defRPr kumimoji="0" sz="1800" b="0" i="0" u="none" strike="noStrike" cap="none" spc="0" normalizeH="0" baseline="0" noProof="0">
                <a:ln>
                  <a:noFill/>
                </a:ln>
                <a:solidFill>
                  <a:srgbClr val="27254C"/>
                </a:solidFill>
                <a:uLnTx/>
                <a:uFillTx/>
                <a:latin typeface="HelveticaNowDisplay Bold" panose="020B0804030202020204" pitchFamily="34" charset="0"/>
                <a:ea typeface="+mj-ea"/>
                <a:cs typeface="HelveticaNowDisplay Bold" panose="020B0804030202020204" pitchFamily="34" charset="0"/>
              </a:defRPr>
            </a:pPr>
            <a:r>
              <a:rPr kumimoji="0" lang="nl-NL" sz="1800" b="1" i="0" u="none" strike="noStrike" cap="none" spc="0" normalizeH="0" baseline="0">
                <a:ln>
                  <a:noFill/>
                </a:ln>
                <a:solidFill>
                  <a:schemeClr val="tx2"/>
                </a:solidFill>
                <a:uLnTx/>
                <a:uFillTx/>
                <a:latin typeface="Barlow" pitchFamily="2" charset="77"/>
                <a:cs typeface="HelveticaNowDisplay ExtraBold" panose="020B0904030202020204" pitchFamily="34" charset="0"/>
              </a:rPr>
              <a:t>en/of drukte</a:t>
            </a:r>
          </a:p>
        </p:txBody>
      </p:sp>
      <p:sp>
        <p:nvSpPr>
          <p:cNvPr id="23" name="Title 4">
            <a:extLst>
              <a:ext uri="{FF2B5EF4-FFF2-40B4-BE49-F238E27FC236}">
                <a16:creationId xmlns:a16="http://schemas.microsoft.com/office/drawing/2014/main" id="{C3CED3C4-3F6A-B855-DF64-F9DA0E835E69}"/>
              </a:ext>
            </a:extLst>
          </p:cNvPr>
          <p:cNvSpPr txBox="1"/>
          <p:nvPr/>
        </p:nvSpPr>
        <p:spPr>
          <a:xfrm>
            <a:off x="9433627" y="2928818"/>
            <a:ext cx="2625318" cy="713181"/>
          </a:xfrm>
          <a:prstGeom prst="rect">
            <a:avLst/>
          </a:prstGeom>
        </p:spPr>
        <p:txBody>
          <a:bodyPr vert="horz" lIns="0" tIns="0" rIns="0" bIns="0" rtlCol="0" anchor="ctr">
            <a:noAutofit/>
          </a:bodyPr>
          <a:lstStyle>
            <a:defPPr>
              <a:defRPr lang="en-US"/>
            </a:defPPr>
            <a:lvl1pPr marL="0" marR="0" lvl="0" indent="0" algn="l" defTabSz="801563" rtl="0" eaLnBrk="1" fontAlgn="auto" latinLnBrk="0" hangingPunct="1">
              <a:lnSpc>
                <a:spcPct val="90000"/>
              </a:lnSpc>
              <a:spcBef>
                <a:spcPct val="0"/>
              </a:spcBef>
              <a:spcAft>
                <a:spcPct val="0"/>
              </a:spcAft>
              <a:buClrTx/>
              <a:buSzTx/>
              <a:buFontTx/>
              <a:buNone/>
              <a:defRPr kumimoji="0" sz="1800" b="0" i="0" u="none" strike="noStrike" kern="1200" cap="none" spc="0" normalizeH="0" baseline="0">
                <a:ln>
                  <a:noFill/>
                </a:ln>
                <a:solidFill>
                  <a:srgbClr val="27254C"/>
                </a:solidFill>
                <a:effectLst/>
                <a:uLnTx/>
                <a:uFillTx/>
                <a:latin typeface="HelveticaNowDisplay Bold" panose="020B0804030202020204" pitchFamily="34" charset="0"/>
                <a:ea typeface="+mj-ea"/>
                <a:cs typeface="HelveticaNowDisplay Bold" panose="020B0804030202020204" pitchFamily="34" charset="0"/>
              </a:defRPr>
            </a:lvl1pPr>
          </a:lstStyle>
          <a:p>
            <a:pPr marL="0" marR="0" lvl="0" indent="0" algn="ctr" defTabSz="801563" fontAlgn="auto">
              <a:lnSpc>
                <a:spcPct val="90000"/>
              </a:lnSpc>
              <a:spcBef>
                <a:spcPct val="0"/>
              </a:spcBef>
              <a:spcAft>
                <a:spcPct val="0"/>
              </a:spcAft>
              <a:buSzTx/>
              <a:buNone/>
              <a:defRPr kumimoji="0" sz="1800" b="0" i="0" u="none" strike="noStrike" cap="none" spc="0" normalizeH="0" baseline="0" noProof="0">
                <a:ln>
                  <a:noFill/>
                </a:ln>
                <a:solidFill>
                  <a:srgbClr val="27254C"/>
                </a:solidFill>
                <a:uLnTx/>
                <a:uFillTx/>
                <a:latin typeface="HelveticaNowDisplay Bold" panose="020B0804030202020204" pitchFamily="34" charset="0"/>
                <a:ea typeface="+mj-ea"/>
                <a:cs typeface="HelveticaNowDisplay Bold" panose="020B0804030202020204" pitchFamily="34" charset="0"/>
              </a:defRPr>
            </a:pPr>
            <a:r>
              <a:rPr kumimoji="0" lang="nl-NL" sz="1800" b="1" i="0" u="none" strike="noStrike" cap="none" spc="0" normalizeH="0" baseline="0">
                <a:ln>
                  <a:noFill/>
                </a:ln>
                <a:solidFill>
                  <a:schemeClr val="tx2"/>
                </a:solidFill>
                <a:uLnTx/>
                <a:uFillTx/>
                <a:latin typeface="Barlow" pitchFamily="2" charset="77"/>
                <a:cs typeface="HelveticaNowDisplay ExtraBold" panose="020B0904030202020204" pitchFamily="34" charset="0"/>
              </a:rPr>
              <a:t>Contact met</a:t>
            </a:r>
          </a:p>
          <a:p>
            <a:pPr marL="0" marR="0" lvl="0" indent="0" algn="ctr" defTabSz="801563" fontAlgn="auto">
              <a:lnSpc>
                <a:spcPct val="90000"/>
              </a:lnSpc>
              <a:spcBef>
                <a:spcPct val="0"/>
              </a:spcBef>
              <a:spcAft>
                <a:spcPct val="0"/>
              </a:spcAft>
              <a:buSzTx/>
              <a:buNone/>
              <a:defRPr kumimoji="0" sz="1800" b="0" i="0" u="none" strike="noStrike" cap="none" spc="0" normalizeH="0" baseline="0" noProof="0">
                <a:ln>
                  <a:noFill/>
                </a:ln>
                <a:solidFill>
                  <a:srgbClr val="27254C"/>
                </a:solidFill>
                <a:uLnTx/>
                <a:uFillTx/>
                <a:latin typeface="HelveticaNowDisplay Bold" panose="020B0804030202020204" pitchFamily="34" charset="0"/>
                <a:ea typeface="+mj-ea"/>
                <a:cs typeface="HelveticaNowDisplay Bold" panose="020B0804030202020204" pitchFamily="34" charset="0"/>
              </a:defRPr>
            </a:pPr>
            <a:r>
              <a:rPr kumimoji="0" lang="nl-NL" sz="1800" b="1" i="0" u="none" strike="noStrike" cap="none" spc="0" normalizeH="0" baseline="0">
                <a:ln>
                  <a:noFill/>
                </a:ln>
                <a:solidFill>
                  <a:schemeClr val="tx2"/>
                </a:solidFill>
                <a:uLnTx/>
                <a:uFillTx/>
                <a:latin typeface="Barlow" pitchFamily="2" charset="77"/>
                <a:cs typeface="HelveticaNowDisplay ExtraBold" panose="020B0904030202020204" pitchFamily="34" charset="0"/>
              </a:rPr>
              <a:t>Zorgorganisatie/ Coördinatiecentrum</a:t>
            </a:r>
          </a:p>
        </p:txBody>
      </p:sp>
      <p:grpSp>
        <p:nvGrpSpPr>
          <p:cNvPr id="28" name="Groep 27">
            <a:extLst>
              <a:ext uri="{FF2B5EF4-FFF2-40B4-BE49-F238E27FC236}">
                <a16:creationId xmlns:a16="http://schemas.microsoft.com/office/drawing/2014/main" id="{C88EF43D-321A-2D2B-5379-BB40D08C00CA}"/>
              </a:ext>
            </a:extLst>
          </p:cNvPr>
          <p:cNvGrpSpPr/>
          <p:nvPr/>
        </p:nvGrpSpPr>
        <p:grpSpPr>
          <a:xfrm>
            <a:off x="1646283" y="3732386"/>
            <a:ext cx="733213" cy="1323090"/>
            <a:chOff x="1102877" y="2314898"/>
            <a:chExt cx="612002" cy="1112582"/>
          </a:xfrm>
        </p:grpSpPr>
        <p:pic>
          <p:nvPicPr>
            <p:cNvPr id="26" name="Graphic 25" descr="Slapen silhouet">
              <a:extLst>
                <a:ext uri="{FF2B5EF4-FFF2-40B4-BE49-F238E27FC236}">
                  <a16:creationId xmlns:a16="http://schemas.microsoft.com/office/drawing/2014/main" id="{F1919E78-577C-1764-E015-358CE2513696}"/>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a:off x="1102878" y="2815479"/>
              <a:ext cx="612001" cy="612001"/>
            </a:xfrm>
            <a:prstGeom prst="rect">
              <a:avLst/>
            </a:prstGeom>
          </p:spPr>
        </p:pic>
        <p:pic>
          <p:nvPicPr>
            <p:cNvPr id="27" name="Graphic 26" descr="Vraagteken silhouet">
              <a:extLst>
                <a:ext uri="{FF2B5EF4-FFF2-40B4-BE49-F238E27FC236}">
                  <a16:creationId xmlns:a16="http://schemas.microsoft.com/office/drawing/2014/main" id="{A4ABB0F3-3AB1-8643-33D6-A21F0CB60A96}"/>
                </a:ext>
              </a:extLst>
            </p:cNvPr>
            <p:cNvPicPr>
              <a:picLocks noChangeAspect="1"/>
            </p:cNvPicPr>
            <p:nvPr/>
          </p:nvPicPr>
          <p:blipFill>
            <a:blip r:embed="rId19">
              <a:extLst>
                <a:ext uri="{96DAC541-7B7A-43D3-8B79-37D633B846F1}">
                  <asvg:svgBlip xmlns:asvg="http://schemas.microsoft.com/office/drawing/2016/SVG/main" r:embed="rId20"/>
                </a:ext>
              </a:extLst>
            </a:blip>
            <a:srcRect/>
            <a:stretch/>
          </p:blipFill>
          <p:spPr>
            <a:xfrm>
              <a:off x="1102877" y="2314898"/>
              <a:ext cx="612001" cy="612001"/>
            </a:xfrm>
            <a:prstGeom prst="rect">
              <a:avLst/>
            </a:prstGeom>
          </p:spPr>
        </p:pic>
      </p:grpSp>
      <p:pic>
        <p:nvPicPr>
          <p:cNvPr id="29" name="Graphic 28" descr="Badge: 1 silhouet">
            <a:extLst>
              <a:ext uri="{FF2B5EF4-FFF2-40B4-BE49-F238E27FC236}">
                <a16:creationId xmlns:a16="http://schemas.microsoft.com/office/drawing/2014/main" id="{E812C760-5C52-BFBB-4A9B-AE2A7FE18820}"/>
              </a:ext>
            </a:extLst>
          </p:cNvPr>
          <p:cNvPicPr>
            <a:picLocks noChangeAspect="1"/>
          </p:cNvPicPr>
          <p:nvPr/>
        </p:nvPicPr>
        <p:blipFill>
          <a:blip r:embed="rId21">
            <a:extLst>
              <a:ext uri="{96DAC541-7B7A-43D3-8B79-37D633B846F1}">
                <asvg:svgBlip xmlns:asvg="http://schemas.microsoft.com/office/drawing/2016/SVG/main" r:embed="rId22"/>
              </a:ext>
            </a:extLst>
          </a:blip>
          <a:srcRect/>
          <a:stretch/>
        </p:blipFill>
        <p:spPr>
          <a:xfrm>
            <a:off x="1715866" y="2194048"/>
            <a:ext cx="612001" cy="612001"/>
          </a:xfrm>
          <a:prstGeom prst="rect">
            <a:avLst/>
          </a:prstGeom>
        </p:spPr>
      </p:pic>
      <p:pic>
        <p:nvPicPr>
          <p:cNvPr id="31" name="Graphic 30" descr="Badge silhouet">
            <a:extLst>
              <a:ext uri="{FF2B5EF4-FFF2-40B4-BE49-F238E27FC236}">
                <a16:creationId xmlns:a16="http://schemas.microsoft.com/office/drawing/2014/main" id="{1EE16A29-89B3-C381-B0D5-5089D5AA3CD3}"/>
              </a:ext>
            </a:extLst>
          </p:cNvPr>
          <p:cNvPicPr>
            <a:picLocks noChangeAspect="1"/>
          </p:cNvPicPr>
          <p:nvPr/>
        </p:nvPicPr>
        <p:blipFill>
          <a:blip r:embed="rId23">
            <a:extLst>
              <a:ext uri="{96DAC541-7B7A-43D3-8B79-37D633B846F1}">
                <asvg:svgBlip xmlns:asvg="http://schemas.microsoft.com/office/drawing/2016/SVG/main" r:embed="rId24"/>
              </a:ext>
            </a:extLst>
          </a:blip>
          <a:srcRect/>
          <a:stretch/>
        </p:blipFill>
        <p:spPr>
          <a:xfrm>
            <a:off x="4647131" y="2193388"/>
            <a:ext cx="612001" cy="612001"/>
          </a:xfrm>
          <a:prstGeom prst="rect">
            <a:avLst/>
          </a:prstGeom>
        </p:spPr>
      </p:pic>
      <p:pic>
        <p:nvPicPr>
          <p:cNvPr id="32" name="Graphic 31" descr="Badge 3 silhouet">
            <a:extLst>
              <a:ext uri="{FF2B5EF4-FFF2-40B4-BE49-F238E27FC236}">
                <a16:creationId xmlns:a16="http://schemas.microsoft.com/office/drawing/2014/main" id="{D552236D-5E81-402C-1EE9-45F9F24613B2}"/>
              </a:ext>
            </a:extLst>
          </p:cNvPr>
          <p:cNvPicPr>
            <a:picLocks noChangeAspect="1"/>
          </p:cNvPicPr>
          <p:nvPr/>
        </p:nvPicPr>
        <p:blipFill>
          <a:blip r:embed="rId25">
            <a:extLst>
              <a:ext uri="{96DAC541-7B7A-43D3-8B79-37D633B846F1}">
                <asvg:svgBlip xmlns:asvg="http://schemas.microsoft.com/office/drawing/2016/SVG/main" r:embed="rId26"/>
              </a:ext>
            </a:extLst>
          </a:blip>
          <a:srcRect/>
          <a:stretch/>
        </p:blipFill>
        <p:spPr>
          <a:xfrm>
            <a:off x="7638205" y="2193388"/>
            <a:ext cx="612001" cy="612001"/>
          </a:xfrm>
          <a:prstGeom prst="rect">
            <a:avLst/>
          </a:prstGeom>
        </p:spPr>
      </p:pic>
      <p:pic>
        <p:nvPicPr>
          <p:cNvPr id="33" name="Graphic 32" descr="Badge 4 silhouet">
            <a:extLst>
              <a:ext uri="{FF2B5EF4-FFF2-40B4-BE49-F238E27FC236}">
                <a16:creationId xmlns:a16="http://schemas.microsoft.com/office/drawing/2014/main" id="{3CB14CE8-31BC-2369-B8D8-E83F9402FDFD}"/>
              </a:ext>
            </a:extLst>
          </p:cNvPr>
          <p:cNvPicPr>
            <a:picLocks noChangeAspect="1"/>
          </p:cNvPicPr>
          <p:nvPr/>
        </p:nvPicPr>
        <p:blipFill>
          <a:blip r:embed="rId27">
            <a:extLst>
              <a:ext uri="{96DAC541-7B7A-43D3-8B79-37D633B846F1}">
                <asvg:svgBlip xmlns:asvg="http://schemas.microsoft.com/office/drawing/2016/SVG/main" r:embed="rId28"/>
              </a:ext>
            </a:extLst>
          </a:blip>
          <a:srcRect/>
          <a:stretch/>
        </p:blipFill>
        <p:spPr>
          <a:xfrm>
            <a:off x="10416609" y="2193388"/>
            <a:ext cx="612001" cy="612001"/>
          </a:xfrm>
          <a:prstGeom prst="rect">
            <a:avLst/>
          </a:prstGeom>
        </p:spPr>
      </p:pic>
      <p:sp>
        <p:nvSpPr>
          <p:cNvPr id="34" name="Pijl: punthaak 33">
            <a:extLst>
              <a:ext uri="{FF2B5EF4-FFF2-40B4-BE49-F238E27FC236}">
                <a16:creationId xmlns:a16="http://schemas.microsoft.com/office/drawing/2014/main" id="{77D02D46-E205-7B28-0207-84FA456B7F74}"/>
              </a:ext>
            </a:extLst>
          </p:cNvPr>
          <p:cNvSpPr/>
          <p:nvPr/>
        </p:nvSpPr>
        <p:spPr>
          <a:xfrm>
            <a:off x="3358199" y="2773958"/>
            <a:ext cx="222250" cy="863600"/>
          </a:xfrm>
          <a:prstGeom prst="chevron">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35" name="Pijl: punthaak 34">
            <a:extLst>
              <a:ext uri="{FF2B5EF4-FFF2-40B4-BE49-F238E27FC236}">
                <a16:creationId xmlns:a16="http://schemas.microsoft.com/office/drawing/2014/main" id="{D118B978-C4AF-3063-3F73-E0CF2400A1A0}"/>
              </a:ext>
            </a:extLst>
          </p:cNvPr>
          <p:cNvSpPr/>
          <p:nvPr/>
        </p:nvSpPr>
        <p:spPr>
          <a:xfrm>
            <a:off x="6325815" y="2740348"/>
            <a:ext cx="222250" cy="863600"/>
          </a:xfrm>
          <a:prstGeom prst="chevron">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36" name="Pijl: punthaak 35">
            <a:extLst>
              <a:ext uri="{FF2B5EF4-FFF2-40B4-BE49-F238E27FC236}">
                <a16:creationId xmlns:a16="http://schemas.microsoft.com/office/drawing/2014/main" id="{AF7EE421-ADB6-E5CF-F1DC-E4C18936EB13}"/>
              </a:ext>
            </a:extLst>
          </p:cNvPr>
          <p:cNvSpPr/>
          <p:nvPr/>
        </p:nvSpPr>
        <p:spPr>
          <a:xfrm>
            <a:off x="9280538" y="2740348"/>
            <a:ext cx="222250" cy="863600"/>
          </a:xfrm>
          <a:prstGeom prst="chevron">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 name="Titel 1">
            <a:extLst>
              <a:ext uri="{FF2B5EF4-FFF2-40B4-BE49-F238E27FC236}">
                <a16:creationId xmlns:a16="http://schemas.microsoft.com/office/drawing/2014/main" id="{042B261B-EA3B-7B67-3309-97A6F7535A77}"/>
              </a:ext>
            </a:extLst>
          </p:cNvPr>
          <p:cNvSpPr>
            <a:spLocks noGrp="1"/>
          </p:cNvSpPr>
          <p:nvPr>
            <p:ph type="title"/>
          </p:nvPr>
        </p:nvSpPr>
        <p:spPr>
          <a:xfrm>
            <a:off x="1371600" y="297237"/>
            <a:ext cx="9946257" cy="755650"/>
          </a:xfrm>
        </p:spPr>
        <p:txBody>
          <a:bodyPr>
            <a:normAutofit/>
          </a:bodyPr>
          <a:lstStyle/>
          <a:p>
            <a:r>
              <a:rPr lang="nl-NL" sz="2500"/>
              <a:t>Introductie LPZ | Globaal werkproces</a:t>
            </a:r>
          </a:p>
        </p:txBody>
      </p:sp>
    </p:spTree>
    <p:extLst>
      <p:ext uri="{BB962C8B-B14F-4D97-AF65-F5344CB8AC3E}">
        <p14:creationId xmlns:p14="http://schemas.microsoft.com/office/powerpoint/2010/main" val="18529776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jdelijke aanduiding voor inhoud 2">
            <a:extLst>
              <a:ext uri="{FF2B5EF4-FFF2-40B4-BE49-F238E27FC236}">
                <a16:creationId xmlns:a16="http://schemas.microsoft.com/office/drawing/2014/main" id="{CB1B3241-EF30-D886-11D3-2441748428D4}"/>
              </a:ext>
            </a:extLst>
          </p:cNvPr>
          <p:cNvSpPr>
            <a:spLocks noGrp="1"/>
          </p:cNvSpPr>
          <p:nvPr>
            <p:ph idx="1"/>
          </p:nvPr>
        </p:nvSpPr>
        <p:spPr/>
        <p:txBody>
          <a:bodyPr>
            <a:normAutofit/>
          </a:bodyPr>
          <a:lstStyle/>
          <a:p>
            <a:pPr marL="0" indent="0">
              <a:buNone/>
            </a:pPr>
            <a:r>
              <a:rPr lang="nl-NL" sz="1800" b="1"/>
              <a:t>Speerpunten eigenaarschap en gebruik van data</a:t>
            </a:r>
          </a:p>
          <a:p>
            <a:r>
              <a:rPr lang="nl-NL" sz="1800"/>
              <a:t>De aanleverende partij blijft altijd eigenaar van de data. Middels een overeenkomst is er de afspraak dat data enkel geanalyseerd wordt op geaggregeerd niveau.</a:t>
            </a:r>
          </a:p>
          <a:p>
            <a:r>
              <a:rPr lang="nl-NL" sz="1800"/>
              <a:t>LPZ gebruikersgroepen zijn alleen geautoriseerd om de voor hen relevante pagina’s/dashboards van LPZ in te zien. </a:t>
            </a:r>
          </a:p>
          <a:p>
            <a:r>
              <a:rPr lang="nl-NL" sz="1800"/>
              <a:t>De aanleverende partij kan per gebruikersgroep configureren tot welk regioniveau gebruikers inzicht mogen hebben in de capaciteitsinformatie. Onderstaand voorbeeld schetst de toepassing hiervan.</a:t>
            </a:r>
          </a:p>
        </p:txBody>
      </p:sp>
      <p:sp>
        <p:nvSpPr>
          <p:cNvPr id="4" name="Tijdelijke aanduiding voor dianummer 3">
            <a:extLst>
              <a:ext uri="{FF2B5EF4-FFF2-40B4-BE49-F238E27FC236}">
                <a16:creationId xmlns:a16="http://schemas.microsoft.com/office/drawing/2014/main" id="{8E9B471F-9B96-4D2C-6A00-E640577E09CC}"/>
              </a:ext>
            </a:extLst>
          </p:cNvPr>
          <p:cNvSpPr>
            <a:spLocks noGrp="1"/>
          </p:cNvSpPr>
          <p:nvPr>
            <p:ph type="sldNum" sz="quarter" idx="12"/>
          </p:nvPr>
        </p:nvSpPr>
        <p:spPr/>
        <p:txBody>
          <a:bodyPr/>
          <a:lstStyle/>
          <a:p>
            <a:fld id="{69E57DC2-970A-4B3E-BB1C-7A09969E49DF}" type="slidenum">
              <a:rPr lang="nl-NL" smtClean="0"/>
              <a:t>9</a:t>
            </a:fld>
            <a:endParaRPr lang="nl-NL"/>
          </a:p>
        </p:txBody>
      </p:sp>
      <p:pic>
        <p:nvPicPr>
          <p:cNvPr id="7" name="Afbeelding 6" descr="Afbeelding met tekst, schermopname, diagram, ontwerp&#10;&#10;Automatisch gegenereerde beschrijving">
            <a:extLst>
              <a:ext uri="{FF2B5EF4-FFF2-40B4-BE49-F238E27FC236}">
                <a16:creationId xmlns:a16="http://schemas.microsoft.com/office/drawing/2014/main" id="{D046F53E-977B-3EA9-D25B-47E06A60B975}"/>
              </a:ext>
            </a:extLst>
          </p:cNvPr>
          <p:cNvPicPr>
            <a:picLocks noChangeAspect="1"/>
          </p:cNvPicPr>
          <p:nvPr/>
        </p:nvPicPr>
        <p:blipFill>
          <a:blip r:embed="rId2"/>
          <a:srcRect t="24507" b="15690"/>
          <a:stretch/>
        </p:blipFill>
        <p:spPr>
          <a:xfrm>
            <a:off x="1371600" y="3672459"/>
            <a:ext cx="9405416" cy="3163826"/>
          </a:xfrm>
          <a:prstGeom prst="rect">
            <a:avLst/>
          </a:prstGeom>
        </p:spPr>
      </p:pic>
      <p:grpSp>
        <p:nvGrpSpPr>
          <p:cNvPr id="10" name="Groep 9">
            <a:extLst>
              <a:ext uri="{FF2B5EF4-FFF2-40B4-BE49-F238E27FC236}">
                <a16:creationId xmlns:a16="http://schemas.microsoft.com/office/drawing/2014/main" id="{BC2DCC65-B294-D5CD-6F28-88FB3963403D}"/>
              </a:ext>
            </a:extLst>
          </p:cNvPr>
          <p:cNvGrpSpPr/>
          <p:nvPr/>
        </p:nvGrpSpPr>
        <p:grpSpPr>
          <a:xfrm>
            <a:off x="10308707" y="3924512"/>
            <a:ext cx="1825784" cy="755650"/>
            <a:chOff x="10009484" y="3813023"/>
            <a:chExt cx="1903281" cy="701267"/>
          </a:xfrm>
        </p:grpSpPr>
        <p:pic>
          <p:nvPicPr>
            <p:cNvPr id="8" name="Afbeelding 7" descr="Afbeelding met tekst, schermopname, diagram, ontwerp&#10;&#10;Automatisch gegenereerde beschrijving">
              <a:extLst>
                <a:ext uri="{FF2B5EF4-FFF2-40B4-BE49-F238E27FC236}">
                  <a16:creationId xmlns:a16="http://schemas.microsoft.com/office/drawing/2014/main" id="{44494788-B950-726F-5D30-1430A45FA140}"/>
                </a:ext>
              </a:extLst>
            </p:cNvPr>
            <p:cNvPicPr>
              <a:picLocks noChangeAspect="1"/>
            </p:cNvPicPr>
            <p:nvPr/>
          </p:nvPicPr>
          <p:blipFill>
            <a:blip r:embed="rId2"/>
            <a:srcRect l="4452" t="87848" r="79917" b="6245"/>
            <a:stretch/>
          </p:blipFill>
          <p:spPr>
            <a:xfrm>
              <a:off x="10009484" y="3813023"/>
              <a:ext cx="1903281" cy="404614"/>
            </a:xfrm>
            <a:prstGeom prst="rect">
              <a:avLst/>
            </a:prstGeom>
          </p:spPr>
        </p:pic>
        <p:pic>
          <p:nvPicPr>
            <p:cNvPr id="9" name="Afbeelding 8" descr="Afbeelding met tekst, schermopname, diagram, ontwerp&#10;&#10;Automatisch gegenereerde beschrijving">
              <a:extLst>
                <a:ext uri="{FF2B5EF4-FFF2-40B4-BE49-F238E27FC236}">
                  <a16:creationId xmlns:a16="http://schemas.microsoft.com/office/drawing/2014/main" id="{7E65CF1D-F887-A6C2-C10E-81F2DF804E56}"/>
                </a:ext>
              </a:extLst>
            </p:cNvPr>
            <p:cNvPicPr>
              <a:picLocks noChangeAspect="1"/>
            </p:cNvPicPr>
            <p:nvPr/>
          </p:nvPicPr>
          <p:blipFill>
            <a:blip r:embed="rId2"/>
            <a:srcRect l="22144" t="86047" r="64011" b="7275"/>
            <a:stretch/>
          </p:blipFill>
          <p:spPr>
            <a:xfrm>
              <a:off x="10075645" y="4068461"/>
              <a:ext cx="1643212" cy="445829"/>
            </a:xfrm>
            <a:prstGeom prst="rect">
              <a:avLst/>
            </a:prstGeom>
          </p:spPr>
        </p:pic>
      </p:grpSp>
      <p:sp>
        <p:nvSpPr>
          <p:cNvPr id="6" name="Titel 5">
            <a:extLst>
              <a:ext uri="{FF2B5EF4-FFF2-40B4-BE49-F238E27FC236}">
                <a16:creationId xmlns:a16="http://schemas.microsoft.com/office/drawing/2014/main" id="{7FEE0938-4542-F699-AA77-DD1686A07D8A}"/>
              </a:ext>
            </a:extLst>
          </p:cNvPr>
          <p:cNvSpPr>
            <a:spLocks noGrp="1"/>
          </p:cNvSpPr>
          <p:nvPr>
            <p:ph type="title"/>
          </p:nvPr>
        </p:nvSpPr>
        <p:spPr/>
        <p:txBody>
          <a:bodyPr>
            <a:normAutofit/>
          </a:bodyPr>
          <a:lstStyle/>
          <a:p>
            <a:r>
              <a:rPr lang="nl-NL" sz="2500"/>
              <a:t>Introductie LPZ | Eigenaarschap en gebruik van data</a:t>
            </a:r>
          </a:p>
        </p:txBody>
      </p:sp>
    </p:spTree>
    <p:extLst>
      <p:ext uri="{BB962C8B-B14F-4D97-AF65-F5344CB8AC3E}">
        <p14:creationId xmlns:p14="http://schemas.microsoft.com/office/powerpoint/2010/main" val="27331054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6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4&quot;&gt;&lt;elem m_fUsage=&quot;2.80852798509000045613E+00&quot;&gt;&lt;m_msothmcolidx val=&quot;0&quot;/&gt;&lt;m_rgb r=&quot;C0&quot; g=&quot;00&quot; b=&quot;00&quot;/&gt;&lt;m_nBrightness endver=&quot;26206&quot; val=&quot;0&quot;/&gt;&lt;/elem&gt;&lt;elem m_fUsage=&quot;1.90107665009999982075E+00&quot;&gt;&lt;m_msothmcolidx val=&quot;0&quot;/&gt;&lt;m_rgb r=&quot;F2&quot; g=&quot;F2&quot; b=&quot;F2&quot;/&gt;&lt;m_nBrightness endver=&quot;26206&quot; val=&quot;0&quot;/&gt;&lt;/elem&gt;&lt;elem m_fUsage=&quot;1.53661611931390007513E+00&quot;&gt;&lt;m_msothmcolidx val=&quot;0&quot;/&gt;&lt;m_rgb r=&quot;00&quot; g=&quot;B0&quot; b=&quot;50&quot;/&gt;&lt;m_nBrightness endver=&quot;26206&quot; val=&quot;0&quot;/&gt;&lt;/elem&gt;&lt;elem m_fUsage=&quot;1.46609999999999995879E+00&quot;&gt;&lt;m_msothmcolidx val=&quot;0&quot;/&gt;&lt;m_rgb r=&quot;F4&quot; g=&quot;85&quot; b=&quot;36&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ivcwiuVx9iU_9U3gJQvx.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vcwiuVx9iU_9U3gJQvx.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ivcwiuVx9iU_9U3gJQvx.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BPlyYRDuLLwW1Ax23lYA"/>
</p:tagLst>
</file>

<file path=ppt/theme/theme1.xml><?xml version="1.0" encoding="utf-8"?>
<a:theme xmlns:a="http://schemas.openxmlformats.org/drawingml/2006/main" name="1_Crop">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Crop">
      <a:fillStyleLst>
        <a:solidFill>
          <a:schemeClr val="phClr"/>
        </a:solidFill>
        <a:gradFill rotWithShape="1">
          <a:gsLst>
            <a:gs pos="0">
              <a:schemeClr val="phClr">
                <a:tint val="67000"/>
                <a:satMod val="105000"/>
                <a:lumMod val="110000"/>
              </a:schemeClr>
            </a:gs>
            <a:gs pos="50000">
              <a:schemeClr val="phClr">
                <a:tint val="73000"/>
                <a:satMod val="103000"/>
                <a:lumMod val="105000"/>
              </a:schemeClr>
            </a:gs>
            <a:gs pos="100000">
              <a:schemeClr val="phClr">
                <a:tint val="81000"/>
                <a:satMod val="109000"/>
                <a:lumMod val="105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cmpd="sng" algn="in">
          <a:solidFill>
            <a:schemeClr val="phClr"/>
          </a:solidFill>
          <a:prstDash val="solid"/>
        </a:ln>
        <a:ln w="34925" cap="flat" cmpd="sng" algn="in">
          <a:solidFill>
            <a:schemeClr val="phClr"/>
          </a:solidFill>
          <a:prstDash val="solid"/>
        </a:ln>
        <a:ln w="19050" cap="flat" cmpd="sng" algn="in">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35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spDef>
      <a:spPr>
        <a:solidFill>
          <a:schemeClr val="accent1">
            <a:lumMod val="20000"/>
            <a:lumOff val="80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LPZ Sjabloon_PPT" id="{C7ACE820-9927-4083-A0E8-4AB13911AC59}" vid="{E1629C8F-175B-444F-B26B-82F35F725F2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12289e97-0d8c-4480-b3bd-f272dd772202">
      <Terms xmlns="http://schemas.microsoft.com/office/infopath/2007/PartnerControls"/>
    </lcf76f155ced4ddcb4097134ff3c332f>
    <TaxCatchAll xmlns="487fd6e3-7769-4890-8e44-78b7de66baab"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2141AD13E30AB45A8FBA4AFD2A87F41" ma:contentTypeVersion="11" ma:contentTypeDescription="Create a new document." ma:contentTypeScope="" ma:versionID="07a557606d61f6a8fa72ff794197eec3">
  <xsd:schema xmlns:xsd="http://www.w3.org/2001/XMLSchema" xmlns:xs="http://www.w3.org/2001/XMLSchema" xmlns:p="http://schemas.microsoft.com/office/2006/metadata/properties" xmlns:ns2="12289e97-0d8c-4480-b3bd-f272dd772202" xmlns:ns3="487fd6e3-7769-4890-8e44-78b7de66baab" targetNamespace="http://schemas.microsoft.com/office/2006/metadata/properties" ma:root="true" ma:fieldsID="fd57372f7d70852d7c20dc7ce11755fe" ns2:_="" ns3:_="">
    <xsd:import namespace="12289e97-0d8c-4480-b3bd-f272dd772202"/>
    <xsd:import namespace="487fd6e3-7769-4890-8e44-78b7de66baab"/>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ObjectDetectorVersions" minOccurs="0"/>
                <xsd:element ref="ns2:MediaServiceSearchPropertie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2289e97-0d8c-4480-b3bd-f272dd77220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dde3e2a6-56f2-4fd3-88ec-ddb9667b20d6"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MediaServiceSearchProperties" ma:index="17" nillable="true" ma:displayName="MediaServiceSearchProperties" ma:hidden="true" ma:internalName="MediaServiceSearchProperties" ma:readOnly="true">
      <xsd:simpleType>
        <xsd:restriction base="dms:Note"/>
      </xsd:simpleType>
    </xsd:element>
    <xsd:element name="MediaServiceDateTaken" ma:index="18"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87fd6e3-7769-4890-8e44-78b7de66baab"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51fb0444-0606-4d74-9066-c07716311b54}" ma:internalName="TaxCatchAll" ma:showField="CatchAllData" ma:web="487fd6e3-7769-4890-8e44-78b7de66baa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0171E05-7FDB-4602-A102-2FABEA8B3DBA}">
  <ds:schemaRefs>
    <ds:schemaRef ds:uri="http://schemas.microsoft.com/sharepoint/v3/contenttype/forms"/>
  </ds:schemaRefs>
</ds:datastoreItem>
</file>

<file path=customXml/itemProps2.xml><?xml version="1.0" encoding="utf-8"?>
<ds:datastoreItem xmlns:ds="http://schemas.openxmlformats.org/officeDocument/2006/customXml" ds:itemID="{80716DA9-5588-4D17-8AF9-54032D0333B4}">
  <ds:schemaRefs>
    <ds:schemaRef ds:uri="12289e97-0d8c-4480-b3bd-f272dd772202"/>
    <ds:schemaRef ds:uri="487fd6e3-7769-4890-8e44-78b7de66baa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77476EB-76B3-4416-B445-26FBB95E3D64}">
  <ds:schemaRefs>
    <ds:schemaRef ds:uri="12289e97-0d8c-4480-b3bd-f272dd772202"/>
    <ds:schemaRef ds:uri="487fd6e3-7769-4890-8e44-78b7de66baa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25</Slides>
  <Notes>15</Notes>
  <HiddenSlides>5</HiddenSlides>
  <ScaleCrop>false</ScaleCrop>
  <HeadingPairs>
    <vt:vector size="4" baseType="variant">
      <vt:variant>
        <vt:lpstr>Theme</vt:lpstr>
      </vt:variant>
      <vt:variant>
        <vt:i4>1</vt:i4>
      </vt:variant>
      <vt:variant>
        <vt:lpstr>Slide Titles</vt:lpstr>
      </vt:variant>
      <vt:variant>
        <vt:i4>25</vt:i4>
      </vt:variant>
    </vt:vector>
  </HeadingPairs>
  <TitlesOfParts>
    <vt:vector size="26" baseType="lpstr">
      <vt:lpstr>1_Crop</vt:lpstr>
      <vt:lpstr>PowerPoint Presentation</vt:lpstr>
      <vt:lpstr>Inhoud van de presentatie</vt:lpstr>
      <vt:lpstr>Introductie LPZ | Wat is het LPZ?</vt:lpstr>
      <vt:lpstr>Introductie LPZ | Voor wie is het LPZ?</vt:lpstr>
      <vt:lpstr>Introductie LPZ | Het ontstaan van Landelijk Platform Zorgcoördinatie (LPZ)</vt:lpstr>
      <vt:lpstr>Introductie LPZ | Kaderstellende afspraken </vt:lpstr>
      <vt:lpstr>Introductie LPZ | Bestuurlijke afspraken, ondertekend op 2 april 2025 door onderstaande partijen </vt:lpstr>
      <vt:lpstr>Introductie LPZ | Globaal werkproces</vt:lpstr>
      <vt:lpstr>Introductie LPZ | Eigenaarschap en gebruik van data</vt:lpstr>
      <vt:lpstr>Ontwikkeling | Inzicht in beschikbare capaciteit voor patiënten &lt; 18 jaar</vt:lpstr>
      <vt:lpstr>Ontwikkeling | LPZ en de kindergeneeskunde</vt:lpstr>
      <vt:lpstr>Ontwikkeling | Waarom LPZ?</vt:lpstr>
      <vt:lpstr>Ontwikkeling | Hoe komen de dashboards 2.0 tot stand?</vt:lpstr>
      <vt:lpstr>Ontwikkeling | Welke informatie staat er op de dashboards kindergeneeskunde en neonatologie 2.0?</vt:lpstr>
      <vt:lpstr>Ontwikkeling | Neonatologie en het geboortezorgdashboard</vt:lpstr>
      <vt:lpstr>Ontwikkeling | Wat is er vernieuwd in dashboards 2.0 ten opzichte van 1.0?</vt:lpstr>
      <vt:lpstr>Ontwikkeling | Hoe wordt capaciteitsinformatie aangeleverd?</vt:lpstr>
      <vt:lpstr>(Live) demo dashboards kindergeneeskunde en neonatologie </vt:lpstr>
      <vt:lpstr>Implementatieperiode | Van ontwikkeling naar implementatie</vt:lpstr>
      <vt:lpstr>Implementatieperiode | Gezamenlijke inspanning tussen betrokken zorgprofessionals en ROAZ-bureaus</vt:lpstr>
      <vt:lpstr>Implementatieperiode | Implementatieinformatiepakket  ter ondersteuning</vt:lpstr>
      <vt:lpstr>Implementatieperiode | Monitoring voortgang implementatie</vt:lpstr>
      <vt:lpstr>Implementatieperiode | Ervaringen en tips voor implementatie vanuit de praktijktest</vt:lpstr>
      <vt:lpstr>Implementatieperiode | Waar is meer informatie te vinden?</vt:lpstr>
      <vt:lpstr>PowerPoint Presentation</vt:lpstr>
    </vt:vector>
  </TitlesOfParts>
  <Company>Landelijk netwerk acute zor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Lisanne van Lent</dc:creator>
  <cp:revision>1</cp:revision>
  <cp:lastPrinted>2023-01-25T13:07:52Z</cp:lastPrinted>
  <dcterms:created xsi:type="dcterms:W3CDTF">2025-09-17T09:49:53Z</dcterms:created>
  <dcterms:modified xsi:type="dcterms:W3CDTF">2025-12-17T15:02: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2141AD13E30AB45A8FBA4AFD2A87F41</vt:lpwstr>
  </property>
  <property fmtid="{D5CDD505-2E9C-101B-9397-08002B2CF9AE}" pid="3" name="_NewReviewCycle">
    <vt:lpwstr/>
  </property>
  <property fmtid="{D5CDD505-2E9C-101B-9397-08002B2CF9AE}" pid="4" name="Order">
    <vt:r8>27800</vt:r8>
  </property>
  <property fmtid="{D5CDD505-2E9C-101B-9397-08002B2CF9AE}" pid="5" name="_AdHocReviewCycleID">
    <vt:i4>581279827</vt:i4>
  </property>
  <property fmtid="{D5CDD505-2E9C-101B-9397-08002B2CF9AE}" pid="6" name="_EmailSubject">
    <vt:lpwstr>powerpoint organisatie LNAZ voor NZa en MO </vt:lpwstr>
  </property>
  <property fmtid="{D5CDD505-2E9C-101B-9397-08002B2CF9AE}" pid="7" name="_AuthorEmail">
    <vt:lpwstr>d.verseput@lnaz.nl</vt:lpwstr>
  </property>
  <property fmtid="{D5CDD505-2E9C-101B-9397-08002B2CF9AE}" pid="8" name="_AuthorEmailDisplayName">
    <vt:lpwstr>Verseput, Djieuwke</vt:lpwstr>
  </property>
  <property fmtid="{D5CDD505-2E9C-101B-9397-08002B2CF9AE}" pid="9" name="_PreviousAdHocReviewCycleID">
    <vt:i4>-529345279</vt:i4>
  </property>
  <property fmtid="{D5CDD505-2E9C-101B-9397-08002B2CF9AE}" pid="10" name="MediaServiceImageTags">
    <vt:lpwstr/>
  </property>
  <property fmtid="{D5CDD505-2E9C-101B-9397-08002B2CF9AE}" pid="11" name="ComplianceAssetId">
    <vt:lpwstr/>
  </property>
  <property fmtid="{D5CDD505-2E9C-101B-9397-08002B2CF9AE}" pid="12" name="_ExtendedDescription">
    <vt:lpwstr/>
  </property>
  <property fmtid="{D5CDD505-2E9C-101B-9397-08002B2CF9AE}" pid="13" name="TriggerFlowInfo">
    <vt:lpwstr/>
  </property>
</Properties>
</file>